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3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84" r:id="rId4"/>
    <p:sldMasterId id="2147484039" r:id="rId5"/>
    <p:sldMasterId id="2147484059" r:id="rId6"/>
    <p:sldMasterId id="2147484175" r:id="rId7"/>
  </p:sldMasterIdLst>
  <p:notesMasterIdLst>
    <p:notesMasterId r:id="rId16"/>
  </p:notesMasterIdLst>
  <p:handoutMasterIdLst>
    <p:handoutMasterId r:id="rId17"/>
  </p:handoutMasterIdLst>
  <p:sldIdLst>
    <p:sldId id="1600" r:id="rId8"/>
    <p:sldId id="1599" r:id="rId9"/>
    <p:sldId id="263" r:id="rId10"/>
    <p:sldId id="537" r:id="rId11"/>
    <p:sldId id="1603" r:id="rId12"/>
    <p:sldId id="1604" r:id="rId13"/>
    <p:sldId id="1602" r:id="rId14"/>
    <p:sldId id="269" r:id="rId15"/>
  </p:sldIdLst>
  <p:sldSz cx="9144000" cy="6858000" type="screen4x3"/>
  <p:notesSz cx="6797675" cy="9926638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pos="5376" userDrawn="1">
          <p15:clr>
            <a:srgbClr val="A4A3A4"/>
          </p15:clr>
        </p15:guide>
        <p15:guide id="9" pos="384" userDrawn="1">
          <p15:clr>
            <a:srgbClr val="A4A3A4"/>
          </p15:clr>
        </p15:guide>
        <p15:guide id="10" orient="horz" pos="2160">
          <p15:clr>
            <a:srgbClr val="A4A3A4"/>
          </p15:clr>
        </p15:guide>
        <p15:guide id="11" orient="horz" pos="2880" userDrawn="1">
          <p15:clr>
            <a:srgbClr val="F26B43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opher Harris" initials="CH" lastIdx="19" clrIdx="0">
    <p:extLst>
      <p:ext uri="{19B8F6BF-5375-455C-9EA6-DF929625EA0E}">
        <p15:presenceInfo xmlns:p15="http://schemas.microsoft.com/office/powerpoint/2012/main" userId="S-1-5-21-2139700948-275467029-1994159406-11156" providerId="AD"/>
      </p:ext>
    </p:extLst>
  </p:cmAuthor>
  <p:cmAuthor id="2" name="Angie Drach" initials="AD" lastIdx="4" clrIdx="1">
    <p:extLst>
      <p:ext uri="{19B8F6BF-5375-455C-9EA6-DF929625EA0E}">
        <p15:presenceInfo xmlns:p15="http://schemas.microsoft.com/office/powerpoint/2012/main" userId="3554437be6c3edce" providerId="Windows Live"/>
      </p:ext>
    </p:extLst>
  </p:cmAuthor>
  <p:cmAuthor id="3" name="Christopher Harris" initials="CH [2]" lastIdx="3" clrIdx="2">
    <p:extLst>
      <p:ext uri="{19B8F6BF-5375-455C-9EA6-DF929625EA0E}">
        <p15:presenceInfo xmlns:p15="http://schemas.microsoft.com/office/powerpoint/2012/main" userId="S::Christopher.Harris@Euromonitor.com::3d2998ca-232d-47c5-84df-3141f4c9b9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996"/>
    <a:srgbClr val="FB6C10"/>
    <a:srgbClr val="F8762A"/>
    <a:srgbClr val="FF8B47"/>
    <a:srgbClr val="FF9C4E"/>
    <a:srgbClr val="FF994F"/>
    <a:srgbClr val="A73D71"/>
    <a:srgbClr val="F0F0F0"/>
    <a:srgbClr val="B0C0A4"/>
    <a:srgbClr val="B8C7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A9A3C5-8892-4579-8AE2-6980FBD3F450}" v="318" dt="2022-08-18T15:25:53.786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381" autoAdjust="0"/>
    <p:restoredTop sz="95850" autoAdjust="0"/>
  </p:normalViewPr>
  <p:slideViewPr>
    <p:cSldViewPr snapToGrid="0" showGuides="1">
      <p:cViewPr varScale="1">
        <p:scale>
          <a:sx n="60" d="100"/>
          <a:sy n="60" d="100"/>
        </p:scale>
        <p:origin x="636" y="28"/>
      </p:cViewPr>
      <p:guideLst>
        <p:guide pos="5376"/>
        <p:guide pos="384"/>
        <p:guide orient="horz" pos="2160"/>
        <p:guide orient="horz" pos="2880"/>
      </p:guideLst>
    </p:cSldViewPr>
  </p:slideViewPr>
  <p:outlineViewPr>
    <p:cViewPr>
      <p:scale>
        <a:sx n="33" d="100"/>
        <a:sy n="33" d="100"/>
      </p:scale>
      <p:origin x="0" y="-943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2706"/>
    </p:cViewPr>
  </p:sorterViewPr>
  <p:notesViewPr>
    <p:cSldViewPr snapToGrid="0">
      <p:cViewPr varScale="1">
        <p:scale>
          <a:sx n="120" d="100"/>
          <a:sy n="120" d="100"/>
        </p:scale>
        <p:origin x="3896" y="19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63C615-ADCF-44D9-B11F-1DA6EE1A9DF8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A1CB798A-E52B-4E5A-9A89-DF50ABE07F4B}">
      <dgm:prSet phldrT="[Text]"/>
      <dgm:spPr/>
      <dgm:t>
        <a:bodyPr/>
        <a:lstStyle/>
        <a:p>
          <a:r>
            <a:rPr lang="en-GB" dirty="0"/>
            <a:t>Request for data received by Euromonitor</a:t>
          </a:r>
        </a:p>
      </dgm:t>
    </dgm:pt>
    <dgm:pt modelId="{6E2B004F-65F0-475A-83EE-CDF9F22E4E97}" type="parTrans" cxnId="{8BB9C1FF-3D20-4F69-A7C4-BF42854DB825}">
      <dgm:prSet/>
      <dgm:spPr/>
      <dgm:t>
        <a:bodyPr/>
        <a:lstStyle/>
        <a:p>
          <a:endParaRPr lang="en-GB"/>
        </a:p>
      </dgm:t>
    </dgm:pt>
    <dgm:pt modelId="{28982DBC-C2BB-4064-9B3E-9554B1A26BAC}" type="sibTrans" cxnId="{8BB9C1FF-3D20-4F69-A7C4-BF42854DB825}">
      <dgm:prSet/>
      <dgm:spPr/>
      <dgm:t>
        <a:bodyPr/>
        <a:lstStyle/>
        <a:p>
          <a:endParaRPr lang="en-GB"/>
        </a:p>
      </dgm:t>
    </dgm:pt>
    <dgm:pt modelId="{293F86D9-9E30-4594-AA6B-6A32DFD4C1BF}">
      <dgm:prSet phldrT="[Text]"/>
      <dgm:spPr/>
      <dgm:t>
        <a:bodyPr/>
        <a:lstStyle/>
        <a:p>
          <a:r>
            <a:rPr lang="en-GB" dirty="0"/>
            <a:t>Meeting set up to understand exact data requirements, budget availability and intended use of the data  (internal/external publication etc.) </a:t>
          </a:r>
        </a:p>
      </dgm:t>
    </dgm:pt>
    <dgm:pt modelId="{2B8CB56B-F8D8-4A4D-8EAA-64FF20F20843}" type="parTrans" cxnId="{44F9C753-E1C5-41D7-A96C-157F96B6387B}">
      <dgm:prSet/>
      <dgm:spPr/>
      <dgm:t>
        <a:bodyPr/>
        <a:lstStyle/>
        <a:p>
          <a:endParaRPr lang="en-GB"/>
        </a:p>
      </dgm:t>
    </dgm:pt>
    <dgm:pt modelId="{23717AE0-9372-4649-9D6A-2284F708E759}" type="sibTrans" cxnId="{44F9C753-E1C5-41D7-A96C-157F96B6387B}">
      <dgm:prSet/>
      <dgm:spPr/>
      <dgm:t>
        <a:bodyPr/>
        <a:lstStyle/>
        <a:p>
          <a:endParaRPr lang="en-GB"/>
        </a:p>
      </dgm:t>
    </dgm:pt>
    <dgm:pt modelId="{75F2DAC7-EDD2-4FBD-9775-1ED47A1BD9DB}">
      <dgm:prSet phldrT="[Text]"/>
      <dgm:spPr/>
      <dgm:t>
        <a:bodyPr/>
        <a:lstStyle/>
        <a:p>
          <a:r>
            <a:rPr lang="en-GB" dirty="0"/>
            <a:t>Order form/data license drafted </a:t>
          </a:r>
          <a:r>
            <a:rPr lang="en-GB" dirty="0" err="1"/>
            <a:t>inclu</a:t>
          </a:r>
          <a:r>
            <a:rPr lang="en-GB" dirty="0"/>
            <a:t>. IPR permissions (if needed). Once signed, data provided within 24hrs.</a:t>
          </a:r>
        </a:p>
      </dgm:t>
    </dgm:pt>
    <dgm:pt modelId="{3C95930E-E3EC-4C79-B5BC-5BF49A1F5369}" type="parTrans" cxnId="{6BAAEAB2-4F0B-40A1-92F9-7F0DF59138F3}">
      <dgm:prSet/>
      <dgm:spPr/>
      <dgm:t>
        <a:bodyPr/>
        <a:lstStyle/>
        <a:p>
          <a:endParaRPr lang="en-GB"/>
        </a:p>
      </dgm:t>
    </dgm:pt>
    <dgm:pt modelId="{59A37852-1B28-48B8-A4BD-BB6746DB9B69}" type="sibTrans" cxnId="{6BAAEAB2-4F0B-40A1-92F9-7F0DF59138F3}">
      <dgm:prSet/>
      <dgm:spPr/>
      <dgm:t>
        <a:bodyPr/>
        <a:lstStyle/>
        <a:p>
          <a:endParaRPr lang="en-GB"/>
        </a:p>
      </dgm:t>
    </dgm:pt>
    <dgm:pt modelId="{B49C8F86-6AA0-431C-9204-FBC5CD98CC29}">
      <dgm:prSet phldrT="[Text]"/>
      <dgm:spPr/>
      <dgm:t>
        <a:bodyPr/>
        <a:lstStyle/>
        <a:p>
          <a:r>
            <a:rPr lang="en-GB" dirty="0"/>
            <a:t>Ongoing query handling and citation support is included (with response times of no less than 48hrs)</a:t>
          </a:r>
        </a:p>
      </dgm:t>
    </dgm:pt>
    <dgm:pt modelId="{C63447CD-A383-4A17-A224-B58785501BB6}" type="parTrans" cxnId="{690120C4-70B5-453B-B57B-0271B09BEBAF}">
      <dgm:prSet/>
      <dgm:spPr/>
      <dgm:t>
        <a:bodyPr/>
        <a:lstStyle/>
        <a:p>
          <a:endParaRPr lang="en-GB"/>
        </a:p>
      </dgm:t>
    </dgm:pt>
    <dgm:pt modelId="{7925A43E-C388-4FD5-AD10-7018854DAE72}" type="sibTrans" cxnId="{690120C4-70B5-453B-B57B-0271B09BEBAF}">
      <dgm:prSet/>
      <dgm:spPr/>
      <dgm:t>
        <a:bodyPr/>
        <a:lstStyle/>
        <a:p>
          <a:endParaRPr lang="en-GB"/>
        </a:p>
      </dgm:t>
    </dgm:pt>
    <dgm:pt modelId="{F3728F12-54E8-4B12-874F-034551E8E48F}" type="pres">
      <dgm:prSet presAssocID="{F763C615-ADCF-44D9-B11F-1DA6EE1A9DF8}" presName="Name0" presStyleCnt="0">
        <dgm:presLayoutVars>
          <dgm:dir/>
          <dgm:resizeHandles val="exact"/>
        </dgm:presLayoutVars>
      </dgm:prSet>
      <dgm:spPr/>
    </dgm:pt>
    <dgm:pt modelId="{39A3F00B-6F34-4C67-98AD-10A62E1939E9}" type="pres">
      <dgm:prSet presAssocID="{A1CB798A-E52B-4E5A-9A89-DF50ABE07F4B}" presName="node" presStyleLbl="node1" presStyleIdx="0" presStyleCnt="4">
        <dgm:presLayoutVars>
          <dgm:bulletEnabled val="1"/>
        </dgm:presLayoutVars>
      </dgm:prSet>
      <dgm:spPr/>
    </dgm:pt>
    <dgm:pt modelId="{062C7344-C8F1-46FA-9C95-4FCF37C7C785}" type="pres">
      <dgm:prSet presAssocID="{28982DBC-C2BB-4064-9B3E-9554B1A26BAC}" presName="sibTrans" presStyleLbl="sibTrans2D1" presStyleIdx="0" presStyleCnt="3"/>
      <dgm:spPr/>
    </dgm:pt>
    <dgm:pt modelId="{FB4C51FA-8AC5-466D-B942-73F67DE8E78D}" type="pres">
      <dgm:prSet presAssocID="{28982DBC-C2BB-4064-9B3E-9554B1A26BAC}" presName="connectorText" presStyleLbl="sibTrans2D1" presStyleIdx="0" presStyleCnt="3"/>
      <dgm:spPr/>
    </dgm:pt>
    <dgm:pt modelId="{B72FB34C-AC89-429B-854F-C9339545EFB3}" type="pres">
      <dgm:prSet presAssocID="{293F86D9-9E30-4594-AA6B-6A32DFD4C1BF}" presName="node" presStyleLbl="node1" presStyleIdx="1" presStyleCnt="4" custScaleX="122425">
        <dgm:presLayoutVars>
          <dgm:bulletEnabled val="1"/>
        </dgm:presLayoutVars>
      </dgm:prSet>
      <dgm:spPr/>
    </dgm:pt>
    <dgm:pt modelId="{81D34B07-EA50-4060-92C2-2E94686523F4}" type="pres">
      <dgm:prSet presAssocID="{23717AE0-9372-4649-9D6A-2284F708E759}" presName="sibTrans" presStyleLbl="sibTrans2D1" presStyleIdx="1" presStyleCnt="3"/>
      <dgm:spPr/>
    </dgm:pt>
    <dgm:pt modelId="{B10B0D01-D163-4D57-8FCA-8806D3B2B1BA}" type="pres">
      <dgm:prSet presAssocID="{23717AE0-9372-4649-9D6A-2284F708E759}" presName="connectorText" presStyleLbl="sibTrans2D1" presStyleIdx="1" presStyleCnt="3"/>
      <dgm:spPr/>
    </dgm:pt>
    <dgm:pt modelId="{13DAB71A-4F14-49F5-96DE-66F8043166BB}" type="pres">
      <dgm:prSet presAssocID="{75F2DAC7-EDD2-4FBD-9775-1ED47A1BD9DB}" presName="node" presStyleLbl="node1" presStyleIdx="2" presStyleCnt="4">
        <dgm:presLayoutVars>
          <dgm:bulletEnabled val="1"/>
        </dgm:presLayoutVars>
      </dgm:prSet>
      <dgm:spPr/>
    </dgm:pt>
    <dgm:pt modelId="{B682F44D-CDBA-454B-A65C-79AFE9093F12}" type="pres">
      <dgm:prSet presAssocID="{59A37852-1B28-48B8-A4BD-BB6746DB9B69}" presName="sibTrans" presStyleLbl="sibTrans2D1" presStyleIdx="2" presStyleCnt="3"/>
      <dgm:spPr/>
    </dgm:pt>
    <dgm:pt modelId="{E62CDE13-9EA9-4CF9-B757-F0E708310D05}" type="pres">
      <dgm:prSet presAssocID="{59A37852-1B28-48B8-A4BD-BB6746DB9B69}" presName="connectorText" presStyleLbl="sibTrans2D1" presStyleIdx="2" presStyleCnt="3"/>
      <dgm:spPr/>
    </dgm:pt>
    <dgm:pt modelId="{736181C9-846D-4F70-8D25-A6166ED694CD}" type="pres">
      <dgm:prSet presAssocID="{B49C8F86-6AA0-431C-9204-FBC5CD98CC29}" presName="node" presStyleLbl="node1" presStyleIdx="3" presStyleCnt="4">
        <dgm:presLayoutVars>
          <dgm:bulletEnabled val="1"/>
        </dgm:presLayoutVars>
      </dgm:prSet>
      <dgm:spPr/>
    </dgm:pt>
  </dgm:ptLst>
  <dgm:cxnLst>
    <dgm:cxn modelId="{3C045E1A-5CDC-43CF-85AB-5861B1F9F9AB}" type="presOf" srcId="{75F2DAC7-EDD2-4FBD-9775-1ED47A1BD9DB}" destId="{13DAB71A-4F14-49F5-96DE-66F8043166BB}" srcOrd="0" destOrd="0" presId="urn:microsoft.com/office/officeart/2005/8/layout/process1"/>
    <dgm:cxn modelId="{AA9CA61B-46EE-4318-9AB6-07793F05BB79}" type="presOf" srcId="{28982DBC-C2BB-4064-9B3E-9554B1A26BAC}" destId="{FB4C51FA-8AC5-466D-B942-73F67DE8E78D}" srcOrd="1" destOrd="0" presId="urn:microsoft.com/office/officeart/2005/8/layout/process1"/>
    <dgm:cxn modelId="{AE79AC31-0CAC-49E8-B44A-98AF12C92442}" type="presOf" srcId="{59A37852-1B28-48B8-A4BD-BB6746DB9B69}" destId="{B682F44D-CDBA-454B-A65C-79AFE9093F12}" srcOrd="0" destOrd="0" presId="urn:microsoft.com/office/officeart/2005/8/layout/process1"/>
    <dgm:cxn modelId="{037BE835-3097-4387-823F-E11F11640A39}" type="presOf" srcId="{F763C615-ADCF-44D9-B11F-1DA6EE1A9DF8}" destId="{F3728F12-54E8-4B12-874F-034551E8E48F}" srcOrd="0" destOrd="0" presId="urn:microsoft.com/office/officeart/2005/8/layout/process1"/>
    <dgm:cxn modelId="{C10D4F65-AC1D-44E5-808D-ACBBBA29C19B}" type="presOf" srcId="{59A37852-1B28-48B8-A4BD-BB6746DB9B69}" destId="{E62CDE13-9EA9-4CF9-B757-F0E708310D05}" srcOrd="1" destOrd="0" presId="urn:microsoft.com/office/officeart/2005/8/layout/process1"/>
    <dgm:cxn modelId="{F89FEB65-E2F1-421F-8094-10038F86FB5E}" type="presOf" srcId="{28982DBC-C2BB-4064-9B3E-9554B1A26BAC}" destId="{062C7344-C8F1-46FA-9C95-4FCF37C7C785}" srcOrd="0" destOrd="0" presId="urn:microsoft.com/office/officeart/2005/8/layout/process1"/>
    <dgm:cxn modelId="{889FF148-03A0-4FFD-A55D-CDBEC80E3396}" type="presOf" srcId="{A1CB798A-E52B-4E5A-9A89-DF50ABE07F4B}" destId="{39A3F00B-6F34-4C67-98AD-10A62E1939E9}" srcOrd="0" destOrd="0" presId="urn:microsoft.com/office/officeart/2005/8/layout/process1"/>
    <dgm:cxn modelId="{B9142C4A-48B4-4BF0-9DA0-8C09BB46E2F2}" type="presOf" srcId="{B49C8F86-6AA0-431C-9204-FBC5CD98CC29}" destId="{736181C9-846D-4F70-8D25-A6166ED694CD}" srcOrd="0" destOrd="0" presId="urn:microsoft.com/office/officeart/2005/8/layout/process1"/>
    <dgm:cxn modelId="{EFA90E73-E82D-4879-B639-48AE152382C9}" type="presOf" srcId="{23717AE0-9372-4649-9D6A-2284F708E759}" destId="{B10B0D01-D163-4D57-8FCA-8806D3B2B1BA}" srcOrd="1" destOrd="0" presId="urn:microsoft.com/office/officeart/2005/8/layout/process1"/>
    <dgm:cxn modelId="{44F9C753-E1C5-41D7-A96C-157F96B6387B}" srcId="{F763C615-ADCF-44D9-B11F-1DA6EE1A9DF8}" destId="{293F86D9-9E30-4594-AA6B-6A32DFD4C1BF}" srcOrd="1" destOrd="0" parTransId="{2B8CB56B-F8D8-4A4D-8EAA-64FF20F20843}" sibTransId="{23717AE0-9372-4649-9D6A-2284F708E759}"/>
    <dgm:cxn modelId="{6BAAEAB2-4F0B-40A1-92F9-7F0DF59138F3}" srcId="{F763C615-ADCF-44D9-B11F-1DA6EE1A9DF8}" destId="{75F2DAC7-EDD2-4FBD-9775-1ED47A1BD9DB}" srcOrd="2" destOrd="0" parTransId="{3C95930E-E3EC-4C79-B5BC-5BF49A1F5369}" sibTransId="{59A37852-1B28-48B8-A4BD-BB6746DB9B69}"/>
    <dgm:cxn modelId="{690120C4-70B5-453B-B57B-0271B09BEBAF}" srcId="{F763C615-ADCF-44D9-B11F-1DA6EE1A9DF8}" destId="{B49C8F86-6AA0-431C-9204-FBC5CD98CC29}" srcOrd="3" destOrd="0" parTransId="{C63447CD-A383-4A17-A224-B58785501BB6}" sibTransId="{7925A43E-C388-4FD5-AD10-7018854DAE72}"/>
    <dgm:cxn modelId="{D6C91BF3-1D92-4CB0-9C81-31D72948D22A}" type="presOf" srcId="{23717AE0-9372-4649-9D6A-2284F708E759}" destId="{81D34B07-EA50-4060-92C2-2E94686523F4}" srcOrd="0" destOrd="0" presId="urn:microsoft.com/office/officeart/2005/8/layout/process1"/>
    <dgm:cxn modelId="{559DEBFC-E2DE-4302-ACF1-B923E035047D}" type="presOf" srcId="{293F86D9-9E30-4594-AA6B-6A32DFD4C1BF}" destId="{B72FB34C-AC89-429B-854F-C9339545EFB3}" srcOrd="0" destOrd="0" presId="urn:microsoft.com/office/officeart/2005/8/layout/process1"/>
    <dgm:cxn modelId="{8BB9C1FF-3D20-4F69-A7C4-BF42854DB825}" srcId="{F763C615-ADCF-44D9-B11F-1DA6EE1A9DF8}" destId="{A1CB798A-E52B-4E5A-9A89-DF50ABE07F4B}" srcOrd="0" destOrd="0" parTransId="{6E2B004F-65F0-475A-83EE-CDF9F22E4E97}" sibTransId="{28982DBC-C2BB-4064-9B3E-9554B1A26BAC}"/>
    <dgm:cxn modelId="{9BB09677-F723-43EF-BB46-C4C3AC2B1938}" type="presParOf" srcId="{F3728F12-54E8-4B12-874F-034551E8E48F}" destId="{39A3F00B-6F34-4C67-98AD-10A62E1939E9}" srcOrd="0" destOrd="0" presId="urn:microsoft.com/office/officeart/2005/8/layout/process1"/>
    <dgm:cxn modelId="{599198A7-198C-43AF-8980-E70722F8B225}" type="presParOf" srcId="{F3728F12-54E8-4B12-874F-034551E8E48F}" destId="{062C7344-C8F1-46FA-9C95-4FCF37C7C785}" srcOrd="1" destOrd="0" presId="urn:microsoft.com/office/officeart/2005/8/layout/process1"/>
    <dgm:cxn modelId="{4E3DE3E7-71EF-42C9-9211-78C6B26F4CAD}" type="presParOf" srcId="{062C7344-C8F1-46FA-9C95-4FCF37C7C785}" destId="{FB4C51FA-8AC5-466D-B942-73F67DE8E78D}" srcOrd="0" destOrd="0" presId="urn:microsoft.com/office/officeart/2005/8/layout/process1"/>
    <dgm:cxn modelId="{584AE078-6031-418D-8682-F799528D1DFE}" type="presParOf" srcId="{F3728F12-54E8-4B12-874F-034551E8E48F}" destId="{B72FB34C-AC89-429B-854F-C9339545EFB3}" srcOrd="2" destOrd="0" presId="urn:microsoft.com/office/officeart/2005/8/layout/process1"/>
    <dgm:cxn modelId="{A3563548-A22F-49A4-A6BB-A305DC8DA522}" type="presParOf" srcId="{F3728F12-54E8-4B12-874F-034551E8E48F}" destId="{81D34B07-EA50-4060-92C2-2E94686523F4}" srcOrd="3" destOrd="0" presId="urn:microsoft.com/office/officeart/2005/8/layout/process1"/>
    <dgm:cxn modelId="{7B9059D3-BCC6-49FE-B067-83A4B3473389}" type="presParOf" srcId="{81D34B07-EA50-4060-92C2-2E94686523F4}" destId="{B10B0D01-D163-4D57-8FCA-8806D3B2B1BA}" srcOrd="0" destOrd="0" presId="urn:microsoft.com/office/officeart/2005/8/layout/process1"/>
    <dgm:cxn modelId="{E80B6EA4-B649-48BB-8BAE-FFD6F2517C34}" type="presParOf" srcId="{F3728F12-54E8-4B12-874F-034551E8E48F}" destId="{13DAB71A-4F14-49F5-96DE-66F8043166BB}" srcOrd="4" destOrd="0" presId="urn:microsoft.com/office/officeart/2005/8/layout/process1"/>
    <dgm:cxn modelId="{E86D2999-26B0-4DAD-A6F2-79A10B3AB3B9}" type="presParOf" srcId="{F3728F12-54E8-4B12-874F-034551E8E48F}" destId="{B682F44D-CDBA-454B-A65C-79AFE9093F12}" srcOrd="5" destOrd="0" presId="urn:microsoft.com/office/officeart/2005/8/layout/process1"/>
    <dgm:cxn modelId="{C71ADBBD-FB13-4D6E-A788-A00511F3CC78}" type="presParOf" srcId="{B682F44D-CDBA-454B-A65C-79AFE9093F12}" destId="{E62CDE13-9EA9-4CF9-B757-F0E708310D05}" srcOrd="0" destOrd="0" presId="urn:microsoft.com/office/officeart/2005/8/layout/process1"/>
    <dgm:cxn modelId="{0C6659EB-FF2E-4796-889F-06B5A1828186}" type="presParOf" srcId="{F3728F12-54E8-4B12-874F-034551E8E48F}" destId="{736181C9-846D-4F70-8D25-A6166ED694CD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A3F00B-6F34-4C67-98AD-10A62E1939E9}">
      <dsp:nvSpPr>
        <dsp:cNvPr id="0" name=""/>
        <dsp:cNvSpPr/>
      </dsp:nvSpPr>
      <dsp:spPr>
        <a:xfrm>
          <a:off x="680" y="257164"/>
          <a:ext cx="1485913" cy="222887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Request for data received by Euromonitor</a:t>
          </a:r>
        </a:p>
      </dsp:txBody>
      <dsp:txXfrm>
        <a:off x="44201" y="300685"/>
        <a:ext cx="1398871" cy="2141828"/>
      </dsp:txXfrm>
    </dsp:sp>
    <dsp:sp modelId="{062C7344-C8F1-46FA-9C95-4FCF37C7C785}">
      <dsp:nvSpPr>
        <dsp:cNvPr id="0" name=""/>
        <dsp:cNvSpPr/>
      </dsp:nvSpPr>
      <dsp:spPr>
        <a:xfrm>
          <a:off x="1635184" y="1187346"/>
          <a:ext cx="315013" cy="36850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/>
        </a:p>
      </dsp:txBody>
      <dsp:txXfrm>
        <a:off x="1635184" y="1261047"/>
        <a:ext cx="220509" cy="221104"/>
      </dsp:txXfrm>
    </dsp:sp>
    <dsp:sp modelId="{B72FB34C-AC89-429B-854F-C9339545EFB3}">
      <dsp:nvSpPr>
        <dsp:cNvPr id="0" name=""/>
        <dsp:cNvSpPr/>
      </dsp:nvSpPr>
      <dsp:spPr>
        <a:xfrm>
          <a:off x="2080958" y="257164"/>
          <a:ext cx="1819129" cy="222887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Meeting set up to understand exact data requirements, budget availability and intended use of the data  (internal/external publication etc.) </a:t>
          </a:r>
        </a:p>
      </dsp:txBody>
      <dsp:txXfrm>
        <a:off x="2134238" y="310444"/>
        <a:ext cx="1712569" cy="2122310"/>
      </dsp:txXfrm>
    </dsp:sp>
    <dsp:sp modelId="{81D34B07-EA50-4060-92C2-2E94686523F4}">
      <dsp:nvSpPr>
        <dsp:cNvPr id="0" name=""/>
        <dsp:cNvSpPr/>
      </dsp:nvSpPr>
      <dsp:spPr>
        <a:xfrm>
          <a:off x="4048679" y="1187346"/>
          <a:ext cx="315013" cy="36850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/>
        </a:p>
      </dsp:txBody>
      <dsp:txXfrm>
        <a:off x="4048679" y="1261047"/>
        <a:ext cx="220509" cy="221104"/>
      </dsp:txXfrm>
    </dsp:sp>
    <dsp:sp modelId="{13DAB71A-4F14-49F5-96DE-66F8043166BB}">
      <dsp:nvSpPr>
        <dsp:cNvPr id="0" name=""/>
        <dsp:cNvSpPr/>
      </dsp:nvSpPr>
      <dsp:spPr>
        <a:xfrm>
          <a:off x="4494453" y="257164"/>
          <a:ext cx="1485913" cy="222887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Order form/data license drafted </a:t>
          </a:r>
          <a:r>
            <a:rPr lang="en-GB" sz="1500" kern="1200" dirty="0" err="1"/>
            <a:t>inclu</a:t>
          </a:r>
          <a:r>
            <a:rPr lang="en-GB" sz="1500" kern="1200" dirty="0"/>
            <a:t>. IPR permissions (if needed). Once signed, data provided within 24hrs.</a:t>
          </a:r>
        </a:p>
      </dsp:txBody>
      <dsp:txXfrm>
        <a:off x="4537974" y="300685"/>
        <a:ext cx="1398871" cy="2141828"/>
      </dsp:txXfrm>
    </dsp:sp>
    <dsp:sp modelId="{B682F44D-CDBA-454B-A65C-79AFE9093F12}">
      <dsp:nvSpPr>
        <dsp:cNvPr id="0" name=""/>
        <dsp:cNvSpPr/>
      </dsp:nvSpPr>
      <dsp:spPr>
        <a:xfrm>
          <a:off x="6128958" y="1187346"/>
          <a:ext cx="315013" cy="36850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/>
        </a:p>
      </dsp:txBody>
      <dsp:txXfrm>
        <a:off x="6128958" y="1261047"/>
        <a:ext cx="220509" cy="221104"/>
      </dsp:txXfrm>
    </dsp:sp>
    <dsp:sp modelId="{736181C9-846D-4F70-8D25-A6166ED694CD}">
      <dsp:nvSpPr>
        <dsp:cNvPr id="0" name=""/>
        <dsp:cNvSpPr/>
      </dsp:nvSpPr>
      <dsp:spPr>
        <a:xfrm>
          <a:off x="6574732" y="257164"/>
          <a:ext cx="1485913" cy="222887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Ongoing query handling and citation support is included (with response times of no less than 48hrs)</a:t>
          </a:r>
        </a:p>
      </dsp:txBody>
      <dsp:txXfrm>
        <a:off x="6618253" y="300685"/>
        <a:ext cx="1398871" cy="21418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63EEA9-DA5E-4D71-9BAA-646DE63FC9EC}" type="datetimeFigureOut">
              <a:rPr lang="en-US" smtClean="0"/>
              <a:pPr/>
              <a:t>6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21C1E4-0359-46E5-B810-974BE530F4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3456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CC9F57-8FB9-432D-8177-A8E1F7C10CFD}" type="datetimeFigureOut">
              <a:rPr lang="en-US" smtClean="0"/>
              <a:pPr/>
              <a:t>6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45C00-4177-4407-AE72-E15C204487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54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F45C00-4177-4407-AE72-E15C2044873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80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F45C00-4177-4407-AE72-E15C2044873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8315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F45C00-4177-4407-AE72-E15C2044873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7346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>
                  <a:alpha val="85000"/>
                </a:srgbClr>
              </a:gs>
              <a:gs pos="100000">
                <a:srgbClr val="F1B434">
                  <a:alpha val="85000"/>
                </a:srgbClr>
              </a:gs>
            </a:gsLst>
            <a:lin ang="0" scaled="1"/>
          </a:gradFill>
        </p:spPr>
        <p:txBody>
          <a:bodyPr lIns="457200" tIns="685800" rIns="2286000" bIns="21945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txBody>
          <a:bodyPr lIns="1828800" tIns="1828800" rIns="1828800" bIns="3657600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/>
          </p:nvPr>
        </p:nvSpPr>
        <p:spPr>
          <a:xfrm>
            <a:off x="457200" y="5029199"/>
            <a:ext cx="5486400" cy="61371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6553200" y="6225862"/>
            <a:ext cx="2286000" cy="3291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200" y="5642919"/>
            <a:ext cx="5486400" cy="4695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4794504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200" y="6224004"/>
            <a:ext cx="3200400" cy="3291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100" baseline="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Partner Logo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1992334345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Placeholder 18">
            <a:extLst>
              <a:ext uri="{FF2B5EF4-FFF2-40B4-BE49-F238E27FC236}">
                <a16:creationId xmlns:a16="http://schemas.microsoft.com/office/drawing/2014/main" id="{D45BB69F-79D9-4C4A-9C7E-6476B4BAA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944675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Overview 4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kern="1200" cap="none" spc="0" normalizeH="0" noProof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Overview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56409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056409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056409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409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28956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8956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8956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8956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7244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7244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7244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65532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65532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65532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4" hasCustomPrompt="1"/>
          </p:nvPr>
        </p:nvSpPr>
        <p:spPr>
          <a:xfrm>
            <a:off x="65532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3810000" y="1066800"/>
            <a:ext cx="1417608" cy="365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01483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Overview 5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kern="1200" cap="none" spc="0" normalizeH="0" noProof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Overview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4572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21336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1336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1336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1336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100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8100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8100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38100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54864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4864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54864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71628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71628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1628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71628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3810000" y="1066800"/>
            <a:ext cx="1417608" cy="365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82566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C Overview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0" y="0"/>
            <a:ext cx="4572000" cy="6858000"/>
          </a:xfrm>
          <a:prstGeom prst="rect">
            <a:avLst/>
          </a:prstGeom>
          <a:gradFill>
            <a:gsLst>
              <a:gs pos="5000">
                <a:srgbClr val="FF6A13">
                  <a:alpha val="80000"/>
                </a:srgbClr>
              </a:gs>
              <a:gs pos="100000">
                <a:srgbClr val="F1B434">
                  <a:alpha val="80000"/>
                </a:srgbClr>
              </a:gs>
            </a:gsLst>
            <a:lin ang="0" scaled="1"/>
          </a:gradFill>
        </p:spPr>
        <p:txBody>
          <a:bodyPr anchor="b">
            <a:noAutofit/>
          </a:bodyPr>
          <a:lstStyle>
            <a:lvl1pPr marL="0" indent="0">
              <a:buNone/>
              <a:defRPr sz="600" baseline="0"/>
            </a:lvl1pPr>
            <a:lvl2pPr marL="0" indent="0">
              <a:buNone/>
              <a:defRPr sz="600"/>
            </a:lvl2pPr>
            <a:lvl3pPr marL="0" indent="0">
              <a:buNone/>
              <a:defRPr sz="600"/>
            </a:lvl3pPr>
            <a:lvl4pPr marL="0" indent="0">
              <a:buNone/>
              <a:defRPr sz="600"/>
            </a:lvl4pPr>
            <a:lvl5pPr marL="0" indent="0">
              <a:buNone/>
              <a:defRPr sz="600"/>
            </a:lvl5pPr>
          </a:lstStyle>
          <a:p>
            <a:pPr lvl="0"/>
            <a:r>
              <a:rPr lang="en-US"/>
              <a:t>  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0"/>
            <a:ext cx="4572000" cy="6858000"/>
          </a:xfrm>
          <a:prstGeom prst="rect">
            <a:avLst/>
          </a:prstGeom>
          <a:noFill/>
        </p:spPr>
        <p:txBody>
          <a:bodyPr lIns="365760" tIns="548640" rIns="82296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  <a:p>
            <a:endParaRPr lang="en-US"/>
          </a:p>
        </p:txBody>
      </p:sp>
      <p:sp>
        <p:nvSpPr>
          <p:cNvPr id="2" name="TextBox 1"/>
          <p:cNvSpPr txBox="1"/>
          <p:nvPr userDrawn="1"/>
        </p:nvSpPr>
        <p:spPr>
          <a:xfrm>
            <a:off x="304800" y="457200"/>
            <a:ext cx="4114800" cy="6096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kern="1200" cap="none" spc="0" normalizeH="0" noProof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Overview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04800" y="1219200"/>
            <a:ext cx="949569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" y="1524000"/>
            <a:ext cx="4114800" cy="487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4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-1787237" y="1686791"/>
            <a:ext cx="1340427" cy="121573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Use this layout for more then 5 sections with an imag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1787237" y="5758062"/>
            <a:ext cx="1340427" cy="94753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Additional Slide Layouts can be found in the Empower Library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52400" y="6589801"/>
            <a:ext cx="2830613" cy="152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r>
              <a:rPr lang="en-US" sz="80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© </a:t>
            </a:r>
            <a:r>
              <a:rPr lang="en-US" sz="800" kern="0" err="1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Euromonitor</a:t>
            </a:r>
            <a:r>
              <a:rPr lang="en-US" sz="80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8499764" y="0"/>
            <a:ext cx="644236" cy="304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r"/>
            <a:fld id="{5F8EC74F-F43D-B546-84DB-988CF7340E3A}" type="slidenum">
              <a:rPr lang="en-US" sz="900" smtClean="0"/>
              <a:pPr algn="r"/>
              <a:t>‹#›</a:t>
            </a:fld>
            <a:endParaRPr lang="en-US" sz="90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3527AB1-7220-484B-B5DE-54ED3745EF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40018776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C Overview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04800" y="457200"/>
            <a:ext cx="4114800" cy="6096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kern="1200" cap="none" spc="0" normalizeH="0" noProof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Overview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04800" y="1219200"/>
            <a:ext cx="949569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" y="1524000"/>
            <a:ext cx="4114800" cy="487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4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-1620982" y="1676400"/>
            <a:ext cx="1340427" cy="121573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Use this layout for more then 5 sections without imag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0" y="0"/>
            <a:ext cx="4572000" cy="6858000"/>
          </a:xfrm>
          <a:prstGeom prst="rect">
            <a:avLst/>
          </a:prstGeom>
          <a:gradFill>
            <a:gsLst>
              <a:gs pos="5000">
                <a:srgbClr val="FF6A13"/>
              </a:gs>
              <a:gs pos="100000">
                <a:srgbClr val="F1B434"/>
              </a:gs>
            </a:gsLst>
            <a:lin ang="0" scaled="1"/>
          </a:gradFill>
        </p:spPr>
        <p:txBody>
          <a:bodyPr anchor="b">
            <a:noAutofit/>
          </a:bodyPr>
          <a:lstStyle>
            <a:lvl1pPr marL="0" indent="0">
              <a:buNone/>
              <a:defRPr sz="600" baseline="0"/>
            </a:lvl1pPr>
            <a:lvl2pPr marL="0" indent="0">
              <a:buNone/>
              <a:defRPr sz="600"/>
            </a:lvl2pPr>
            <a:lvl3pPr marL="0" indent="0">
              <a:buNone/>
              <a:defRPr sz="600"/>
            </a:lvl3pPr>
            <a:lvl4pPr marL="0" indent="0">
              <a:buNone/>
              <a:defRPr sz="600"/>
            </a:lvl4pPr>
            <a:lvl5pPr marL="0" indent="0">
              <a:buNone/>
              <a:defRPr sz="600"/>
            </a:lvl5pPr>
          </a:lstStyle>
          <a:p>
            <a:pPr lvl="0"/>
            <a:r>
              <a:rPr lang="en-US"/>
              <a:t> 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52400" y="6589801"/>
            <a:ext cx="2830613" cy="152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r>
              <a:rPr lang="en-US" sz="80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© </a:t>
            </a:r>
            <a:r>
              <a:rPr lang="en-US" sz="800" kern="0" err="1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Euromonitor</a:t>
            </a:r>
            <a:r>
              <a:rPr lang="en-US" sz="80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8499764" y="0"/>
            <a:ext cx="644236" cy="304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r"/>
            <a:fld id="{5F8EC74F-F43D-B546-84DB-988CF7340E3A}" type="slidenum">
              <a:rPr lang="en-US" sz="900" smtClean="0"/>
              <a:pPr algn="r"/>
              <a:t>‹#›</a:t>
            </a:fld>
            <a:endParaRPr lang="en-US" sz="90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D787388-244E-B34E-8ECF-5E56007C288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143210256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>
                  <a:alpha val="80000"/>
                </a:srgbClr>
              </a:gs>
              <a:gs pos="100000">
                <a:srgbClr val="F1B434">
                  <a:alpha val="80000"/>
                </a:srgbClr>
              </a:gs>
            </a:gsLst>
            <a:lin ang="0" scaled="1"/>
          </a:gradFill>
        </p:spPr>
        <p:txBody>
          <a:bodyPr lIns="457200" tIns="4937760" rIns="3108960" bIns="548640" anchor="t" anchorCtr="0">
            <a:noAutofit/>
          </a:bodyPr>
          <a:lstStyle>
            <a:lvl1pPr algn="l">
              <a:lnSpc>
                <a:spcPts val="3600"/>
              </a:lnSpc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txBody>
          <a:bodyPr lIns="1828800" tIns="1828800" rIns="1828800" anchor="t">
            <a:noAutofit/>
          </a:bodyPr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4675523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4204607"/>
            <a:ext cx="914400" cy="40798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9" name="SmartArt Placeholder 11"/>
          <p:cNvSpPr>
            <a:spLocks noGrp="1"/>
          </p:cNvSpPr>
          <p:nvPr>
            <p:ph type="dgm" sz="quarter" idx="19" hasCustomPrompt="1"/>
          </p:nvPr>
        </p:nvSpPr>
        <p:spPr>
          <a:xfrm>
            <a:off x="457200" y="4675523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-1620982" y="4067654"/>
            <a:ext cx="1340427" cy="121573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Don’t fill in numbers if more then 5 section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52400" y="6589801"/>
            <a:ext cx="2830613" cy="152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© </a:t>
            </a:r>
            <a:r>
              <a:rPr lang="en-US" sz="800" kern="0" err="1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Euromonitor</a:t>
            </a:r>
            <a:r>
              <a:rPr lang="en-US" sz="80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8499764" y="0"/>
            <a:ext cx="644236" cy="304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r"/>
            <a:fld id="{5F8EC74F-F43D-B546-84DB-988CF7340E3A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4AC9857F-D00B-A545-8A6A-6492EC15C88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3166925090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/>
              </a:gs>
              <a:gs pos="100000">
                <a:srgbClr val="F1B434"/>
              </a:gs>
            </a:gsLst>
            <a:lin ang="0" scaled="1"/>
          </a:gradFill>
        </p:spPr>
        <p:txBody>
          <a:bodyPr lIns="457200" tIns="4937760" rIns="3108960" bIns="548640" anchor="t" anchorCtr="0">
            <a:noAutofit/>
          </a:bodyPr>
          <a:lstStyle>
            <a:lvl1pPr algn="l">
              <a:lnSpc>
                <a:spcPts val="3600"/>
              </a:lnSpc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4675523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4204607"/>
            <a:ext cx="914400" cy="40798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lang="en-US" sz="3600" kern="0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9" name="SmartArt Placeholder 11"/>
          <p:cNvSpPr>
            <a:spLocks noGrp="1"/>
          </p:cNvSpPr>
          <p:nvPr>
            <p:ph type="dgm" sz="quarter" idx="19" hasCustomPrompt="1"/>
          </p:nvPr>
        </p:nvSpPr>
        <p:spPr>
          <a:xfrm>
            <a:off x="457200" y="4675523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-1620982" y="4067654"/>
            <a:ext cx="1340427" cy="121573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Don’t fill in numbers if more then 5 section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52400" y="6589801"/>
            <a:ext cx="2830613" cy="152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© </a:t>
            </a:r>
            <a:r>
              <a:rPr lang="en-US" sz="800" kern="0" err="1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Euromonitor</a:t>
            </a:r>
            <a:r>
              <a:rPr lang="en-US" sz="80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8499764" y="0"/>
            <a:ext cx="644236" cy="304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r"/>
            <a:fld id="{5F8EC74F-F43D-B546-84DB-988CF7340E3A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0B46E058-2AE3-4B48-9BF0-FB485582900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623507121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18">
            <a:extLst>
              <a:ext uri="{FF2B5EF4-FFF2-40B4-BE49-F238E27FC236}">
                <a16:creationId xmlns:a16="http://schemas.microsoft.com/office/drawing/2014/main" id="{D45BB69F-79D9-4C4A-9C7E-6476B4BAA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24932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304800" y="1676400"/>
            <a:ext cx="8534400" cy="47244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Insert image, chart or table</a:t>
            </a:r>
          </a:p>
        </p:txBody>
      </p:sp>
      <p:sp>
        <p:nvSpPr>
          <p:cNvPr id="5" name="Title Placeholder 18">
            <a:extLst>
              <a:ext uri="{FF2B5EF4-FFF2-40B4-BE49-F238E27FC236}">
                <a16:creationId xmlns:a16="http://schemas.microsoft.com/office/drawing/2014/main" id="{494E336D-D59C-F149-8DE3-8B2965A2A1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378619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133600" y="1676399"/>
            <a:ext cx="4876800" cy="74980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304800" y="2606040"/>
            <a:ext cx="8534400" cy="379476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image, chart or table</a:t>
            </a:r>
          </a:p>
        </p:txBody>
      </p:sp>
      <p:sp>
        <p:nvSpPr>
          <p:cNvPr id="7" name="Title Placeholder 18">
            <a:extLst>
              <a:ext uri="{FF2B5EF4-FFF2-40B4-BE49-F238E27FC236}">
                <a16:creationId xmlns:a16="http://schemas.microsoft.com/office/drawing/2014/main" id="{6699A597-4452-6A4C-902C-E871C5A53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654098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01752" y="1676399"/>
            <a:ext cx="5641848" cy="41148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304800" y="2212848"/>
            <a:ext cx="8531352" cy="418795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image, chart or table</a:t>
            </a:r>
          </a:p>
        </p:txBody>
      </p:sp>
    </p:spTree>
    <p:extLst>
      <p:ext uri="{BB962C8B-B14F-4D97-AF65-F5344CB8AC3E}">
        <p14:creationId xmlns:p14="http://schemas.microsoft.com/office/powerpoint/2010/main" val="39839241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304800" y="1676400"/>
            <a:ext cx="8534400" cy="47244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Insert image, chart or table</a:t>
            </a:r>
          </a:p>
        </p:txBody>
      </p:sp>
      <p:sp>
        <p:nvSpPr>
          <p:cNvPr id="5" name="Title Placeholder 18">
            <a:extLst>
              <a:ext uri="{FF2B5EF4-FFF2-40B4-BE49-F238E27FC236}">
                <a16:creationId xmlns:a16="http://schemas.microsoft.com/office/drawing/2014/main" id="{494E336D-D59C-F149-8DE3-8B2965A2A1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927972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4114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/>
          </p:nvPr>
        </p:nvSpPr>
        <p:spPr>
          <a:xfrm>
            <a:off x="4724400" y="1676400"/>
            <a:ext cx="4114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421533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4"/>
          <p:cNvSpPr>
            <a:spLocks noGrp="1"/>
          </p:cNvSpPr>
          <p:nvPr>
            <p:ph sz="quarter" idx="15"/>
          </p:nvPr>
        </p:nvSpPr>
        <p:spPr>
          <a:xfrm>
            <a:off x="32004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6"/>
          </p:nvPr>
        </p:nvSpPr>
        <p:spPr>
          <a:xfrm>
            <a:off x="60960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32458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Cont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3967566"/>
            <a:ext cx="2743200" cy="243323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4"/>
          <p:cNvSpPr>
            <a:spLocks noGrp="1"/>
          </p:cNvSpPr>
          <p:nvPr>
            <p:ph sz="quarter" idx="15"/>
          </p:nvPr>
        </p:nvSpPr>
        <p:spPr>
          <a:xfrm>
            <a:off x="3200400" y="3967566"/>
            <a:ext cx="2743200" cy="243323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6"/>
          </p:nvPr>
        </p:nvSpPr>
        <p:spPr>
          <a:xfrm>
            <a:off x="6096000" y="3967566"/>
            <a:ext cx="2743200" cy="243323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304800" y="1676400"/>
            <a:ext cx="2743200" cy="19842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image, chart or ic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18" hasCustomPrompt="1"/>
          </p:nvPr>
        </p:nvSpPr>
        <p:spPr>
          <a:xfrm>
            <a:off x="3200400" y="1676400"/>
            <a:ext cx="2743200" cy="19842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image, chart or ic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 hasCustomPrompt="1"/>
          </p:nvPr>
        </p:nvSpPr>
        <p:spPr>
          <a:xfrm>
            <a:off x="6096000" y="1676400"/>
            <a:ext cx="2743200" cy="19842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image, chart or ic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2A9863-4611-8140-87B3-053612E468B0}"/>
              </a:ext>
            </a:extLst>
          </p:cNvPr>
          <p:cNvSpPr txBox="1"/>
          <p:nvPr userDrawn="1"/>
        </p:nvSpPr>
        <p:spPr>
          <a:xfrm>
            <a:off x="3657600" y="900223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noProof="0">
              <a:ln>
                <a:noFill/>
              </a:ln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4239661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 Middle,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048000" y="1524000"/>
            <a:ext cx="3047999" cy="533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/>
          </p:nvPr>
        </p:nvSpPr>
        <p:spPr>
          <a:xfrm>
            <a:off x="3200400" y="1676400"/>
            <a:ext cx="2743200" cy="47244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0" y="1524000"/>
            <a:ext cx="3048000" cy="5334000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image or chart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6095999" y="1534332"/>
            <a:ext cx="3048001" cy="5323668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image or chart</a:t>
            </a:r>
          </a:p>
        </p:txBody>
      </p:sp>
    </p:spTree>
    <p:extLst>
      <p:ext uri="{BB962C8B-B14F-4D97-AF65-F5344CB8AC3E}">
        <p14:creationId xmlns:p14="http://schemas.microsoft.com/office/powerpoint/2010/main" val="29620754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, 2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304800" y="457200"/>
            <a:ext cx="27432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219200" y="1219200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3200400" y="302217"/>
            <a:ext cx="5943600" cy="6555783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image or chart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5FC88EE-031E-F14F-8CE4-B97F27BFA4B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428474551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umn 1/3 Column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/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5638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15"/>
          </p:nvPr>
        </p:nvSpPr>
        <p:spPr>
          <a:xfrm>
            <a:off x="60960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039641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umn 1/3 Column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/>
          </p:nvPr>
        </p:nvSpPr>
        <p:spPr>
          <a:xfrm>
            <a:off x="3200400" y="1676400"/>
            <a:ext cx="5638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852625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umn, Split Column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4114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/>
          </p:nvPr>
        </p:nvSpPr>
        <p:spPr>
          <a:xfrm>
            <a:off x="47244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6"/>
          </p:nvPr>
        </p:nvSpPr>
        <p:spPr>
          <a:xfrm>
            <a:off x="47244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571936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umn, Split Column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/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5"/>
          </p:nvPr>
        </p:nvSpPr>
        <p:spPr>
          <a:xfrm>
            <a:off x="3048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6"/>
          </p:nvPr>
        </p:nvSpPr>
        <p:spPr>
          <a:xfrm>
            <a:off x="4724400" y="1676400"/>
            <a:ext cx="4114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671064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umn, Split Column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/>
          </p:nvPr>
        </p:nvSpPr>
        <p:spPr>
          <a:xfrm>
            <a:off x="3200400" y="1676400"/>
            <a:ext cx="5638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6"/>
          </p:nvPr>
        </p:nvSpPr>
        <p:spPr>
          <a:xfrm>
            <a:off x="3200400" y="4114800"/>
            <a:ext cx="5638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65941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133600" y="1676399"/>
            <a:ext cx="4876800" cy="74980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304800" y="2606040"/>
            <a:ext cx="8534400" cy="379476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image, chart or table</a:t>
            </a:r>
          </a:p>
        </p:txBody>
      </p:sp>
      <p:sp>
        <p:nvSpPr>
          <p:cNvPr id="7" name="Title Placeholder 18">
            <a:extLst>
              <a:ext uri="{FF2B5EF4-FFF2-40B4-BE49-F238E27FC236}">
                <a16:creationId xmlns:a16="http://schemas.microsoft.com/office/drawing/2014/main" id="{6699A597-4452-6A4C-902C-E871C5A53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810300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umn, Split Column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/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5638800" cy="228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5"/>
          </p:nvPr>
        </p:nvSpPr>
        <p:spPr>
          <a:xfrm>
            <a:off x="304800" y="4114800"/>
            <a:ext cx="5638800" cy="228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6"/>
          </p:nvPr>
        </p:nvSpPr>
        <p:spPr>
          <a:xfrm>
            <a:off x="6096000" y="1676400"/>
            <a:ext cx="2743200" cy="472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90574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Hal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04800" y="1676400"/>
            <a:ext cx="8534400" cy="22860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/>
              <a:t>Insert image, chart or table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304800" y="4114800"/>
            <a:ext cx="85344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image,  chart or table</a:t>
            </a:r>
          </a:p>
        </p:txBody>
      </p:sp>
    </p:spTree>
    <p:extLst>
      <p:ext uri="{BB962C8B-B14F-4D97-AF65-F5344CB8AC3E}">
        <p14:creationId xmlns:p14="http://schemas.microsoft.com/office/powerpoint/2010/main" val="236250721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Half, Two Quarters (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04800" y="1676400"/>
            <a:ext cx="8534400" cy="22860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/>
              <a:t>Insert image, chart or table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/>
          </p:nvPr>
        </p:nvSpPr>
        <p:spPr>
          <a:xfrm>
            <a:off x="3048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6"/>
          </p:nvPr>
        </p:nvSpPr>
        <p:spPr>
          <a:xfrm>
            <a:off x="47244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371758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Half, Three Half-Columns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4" hasCustomPrompt="1"/>
          </p:nvPr>
        </p:nvSpPr>
        <p:spPr>
          <a:xfrm>
            <a:off x="304800" y="1676400"/>
            <a:ext cx="85344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image, chart or table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5"/>
          </p:nvPr>
        </p:nvSpPr>
        <p:spPr>
          <a:xfrm>
            <a:off x="304800" y="4114800"/>
            <a:ext cx="27432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6"/>
          </p:nvPr>
        </p:nvSpPr>
        <p:spPr>
          <a:xfrm>
            <a:off x="3200400" y="4114800"/>
            <a:ext cx="27432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4114800"/>
            <a:ext cx="27432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202149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Half, Two Quarters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/>
          </p:nvPr>
        </p:nvSpPr>
        <p:spPr>
          <a:xfrm>
            <a:off x="47244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304800" y="4114800"/>
            <a:ext cx="85344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Insert image, chart or table</a:t>
            </a:r>
          </a:p>
        </p:txBody>
      </p:sp>
    </p:spTree>
    <p:extLst>
      <p:ext uri="{BB962C8B-B14F-4D97-AF65-F5344CB8AC3E}">
        <p14:creationId xmlns:p14="http://schemas.microsoft.com/office/powerpoint/2010/main" val="263143586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r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5"/>
          </p:nvPr>
        </p:nvSpPr>
        <p:spPr>
          <a:xfrm>
            <a:off x="3048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4"/>
          <p:cNvSpPr>
            <a:spLocks noGrp="1"/>
          </p:cNvSpPr>
          <p:nvPr>
            <p:ph sz="quarter" idx="16"/>
          </p:nvPr>
        </p:nvSpPr>
        <p:spPr>
          <a:xfrm>
            <a:off x="47244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47244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109218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rters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2633472"/>
            <a:ext cx="41148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9324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6"/>
          </p:nvPr>
        </p:nvSpPr>
        <p:spPr>
          <a:xfrm>
            <a:off x="4724400" y="2633472"/>
            <a:ext cx="41148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63520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2" name="Content Placeholder 4"/>
          <p:cNvSpPr>
            <a:spLocks noGrp="1"/>
          </p:cNvSpPr>
          <p:nvPr>
            <p:ph sz="quarter" idx="18"/>
          </p:nvPr>
        </p:nvSpPr>
        <p:spPr>
          <a:xfrm>
            <a:off x="304800" y="5084064"/>
            <a:ext cx="41148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19324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4" name="Content Placeholder 4"/>
          <p:cNvSpPr>
            <a:spLocks noGrp="1"/>
          </p:cNvSpPr>
          <p:nvPr>
            <p:ph sz="quarter" idx="20"/>
          </p:nvPr>
        </p:nvSpPr>
        <p:spPr>
          <a:xfrm>
            <a:off x="4724400" y="5084064"/>
            <a:ext cx="41148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Picture Placehold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3520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32709442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2633472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275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6"/>
          </p:nvPr>
        </p:nvSpPr>
        <p:spPr>
          <a:xfrm>
            <a:off x="2514600" y="2633472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373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8"/>
          </p:nvPr>
        </p:nvSpPr>
        <p:spPr>
          <a:xfrm>
            <a:off x="4724400" y="2633472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2471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20"/>
          </p:nvPr>
        </p:nvSpPr>
        <p:spPr>
          <a:xfrm>
            <a:off x="6934200" y="2633472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Picture Placehold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74569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22"/>
          </p:nvPr>
        </p:nvSpPr>
        <p:spPr>
          <a:xfrm>
            <a:off x="304800" y="5084064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Picture Placeholder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8275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5" name="Content Placeholder 4"/>
          <p:cNvSpPr>
            <a:spLocks noGrp="1"/>
          </p:cNvSpPr>
          <p:nvPr>
            <p:ph sz="quarter" idx="24"/>
          </p:nvPr>
        </p:nvSpPr>
        <p:spPr>
          <a:xfrm>
            <a:off x="2514600" y="5084064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30373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7" name="Content Placeholder 4"/>
          <p:cNvSpPr>
            <a:spLocks noGrp="1"/>
          </p:cNvSpPr>
          <p:nvPr>
            <p:ph sz="quarter" idx="26"/>
          </p:nvPr>
        </p:nvSpPr>
        <p:spPr>
          <a:xfrm>
            <a:off x="4724400" y="5084064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2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52471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9" name="Content Placeholder 4"/>
          <p:cNvSpPr>
            <a:spLocks noGrp="1"/>
          </p:cNvSpPr>
          <p:nvPr>
            <p:ph sz="quarter" idx="28"/>
          </p:nvPr>
        </p:nvSpPr>
        <p:spPr>
          <a:xfrm>
            <a:off x="6934200" y="5084064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74569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341526140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_1/3 Image, Split Column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/>
          </p:nvPr>
        </p:nvSpPr>
        <p:spPr>
          <a:xfrm>
            <a:off x="3200400" y="1676399"/>
            <a:ext cx="5638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4"/>
          <p:cNvSpPr>
            <a:spLocks noGrp="1"/>
          </p:cNvSpPr>
          <p:nvPr>
            <p:ph sz="quarter" idx="15"/>
          </p:nvPr>
        </p:nvSpPr>
        <p:spPr>
          <a:xfrm>
            <a:off x="3200400" y="4114800"/>
            <a:ext cx="5638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304800" y="1676399"/>
            <a:ext cx="2587752" cy="2441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53305155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Descriptions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/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sz="quarter" idx="14"/>
          </p:nvPr>
        </p:nvSpPr>
        <p:spPr>
          <a:xfrm>
            <a:off x="2569464" y="1676400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700784" y="1676400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mage or icon</a:t>
            </a:r>
          </a:p>
        </p:txBody>
      </p:sp>
      <p:sp>
        <p:nvSpPr>
          <p:cNvPr id="23" name="Content Placeholder 5"/>
          <p:cNvSpPr>
            <a:spLocks noGrp="1"/>
          </p:cNvSpPr>
          <p:nvPr>
            <p:ph sz="quarter" idx="16"/>
          </p:nvPr>
        </p:nvSpPr>
        <p:spPr>
          <a:xfrm>
            <a:off x="2569464" y="2679192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700784" y="2679192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mage or icon</a:t>
            </a:r>
          </a:p>
        </p:txBody>
      </p:sp>
      <p:sp>
        <p:nvSpPr>
          <p:cNvPr id="27" name="Content Placeholder 5"/>
          <p:cNvSpPr>
            <a:spLocks noGrp="1"/>
          </p:cNvSpPr>
          <p:nvPr>
            <p:ph sz="quarter" idx="18"/>
          </p:nvPr>
        </p:nvSpPr>
        <p:spPr>
          <a:xfrm>
            <a:off x="2569464" y="3681984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1700784" y="3681984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mage or icon</a:t>
            </a:r>
          </a:p>
        </p:txBody>
      </p:sp>
      <p:sp>
        <p:nvSpPr>
          <p:cNvPr id="29" name="Content Placeholder 5"/>
          <p:cNvSpPr>
            <a:spLocks noGrp="1"/>
          </p:cNvSpPr>
          <p:nvPr>
            <p:ph sz="quarter" idx="20"/>
          </p:nvPr>
        </p:nvSpPr>
        <p:spPr>
          <a:xfrm>
            <a:off x="2569464" y="4684776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1700784" y="4684776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mage or icon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22"/>
          </p:nvPr>
        </p:nvSpPr>
        <p:spPr>
          <a:xfrm>
            <a:off x="2569464" y="5687568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700784" y="5687568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mage or icon</a:t>
            </a:r>
          </a:p>
        </p:txBody>
      </p:sp>
    </p:spTree>
    <p:extLst>
      <p:ext uri="{BB962C8B-B14F-4D97-AF65-F5344CB8AC3E}">
        <p14:creationId xmlns:p14="http://schemas.microsoft.com/office/powerpoint/2010/main" val="35166533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01752" y="1676399"/>
            <a:ext cx="5641848" cy="41148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304800" y="2212848"/>
            <a:ext cx="8531352" cy="418795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image, chart or table</a:t>
            </a:r>
          </a:p>
        </p:txBody>
      </p:sp>
    </p:spTree>
    <p:extLst>
      <p:ext uri="{BB962C8B-B14F-4D97-AF65-F5344CB8AC3E}">
        <p14:creationId xmlns:p14="http://schemas.microsoft.com/office/powerpoint/2010/main" val="175977610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ve Descriptions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/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sz="quarter" idx="14"/>
          </p:nvPr>
        </p:nvSpPr>
        <p:spPr>
          <a:xfrm>
            <a:off x="2569464" y="1676400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5"/>
          <p:cNvSpPr>
            <a:spLocks noGrp="1"/>
          </p:cNvSpPr>
          <p:nvPr>
            <p:ph sz="quarter" idx="16"/>
          </p:nvPr>
        </p:nvSpPr>
        <p:spPr>
          <a:xfrm>
            <a:off x="2569464" y="2679192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5"/>
          <p:cNvSpPr>
            <a:spLocks noGrp="1"/>
          </p:cNvSpPr>
          <p:nvPr>
            <p:ph sz="quarter" idx="18"/>
          </p:nvPr>
        </p:nvSpPr>
        <p:spPr>
          <a:xfrm>
            <a:off x="2569464" y="3681984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Content Placeholder 5"/>
          <p:cNvSpPr>
            <a:spLocks noGrp="1"/>
          </p:cNvSpPr>
          <p:nvPr>
            <p:ph sz="quarter" idx="20"/>
          </p:nvPr>
        </p:nvSpPr>
        <p:spPr>
          <a:xfrm>
            <a:off x="2569464" y="4684776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22"/>
          </p:nvPr>
        </p:nvSpPr>
        <p:spPr>
          <a:xfrm>
            <a:off x="2569464" y="5687568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B78EA9-882F-4C4C-BB39-9731699F6100}"/>
              </a:ext>
            </a:extLst>
          </p:cNvPr>
          <p:cNvSpPr/>
          <p:nvPr userDrawn="1"/>
        </p:nvSpPr>
        <p:spPr>
          <a:xfrm>
            <a:off x="1736154" y="1676400"/>
            <a:ext cx="677862" cy="67786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+mj-lt"/>
              </a:rPr>
              <a:t>1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A2B06BA-B66C-BE4B-9FBD-78F1FA6DC0E6}"/>
              </a:ext>
            </a:extLst>
          </p:cNvPr>
          <p:cNvSpPr/>
          <p:nvPr userDrawn="1"/>
        </p:nvSpPr>
        <p:spPr>
          <a:xfrm>
            <a:off x="1736154" y="2671823"/>
            <a:ext cx="677862" cy="67786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+mj-lt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AB1F025-BE6C-7446-B686-D88DA2FF15D4}"/>
              </a:ext>
            </a:extLst>
          </p:cNvPr>
          <p:cNvSpPr/>
          <p:nvPr userDrawn="1"/>
        </p:nvSpPr>
        <p:spPr>
          <a:xfrm>
            <a:off x="1736154" y="3678821"/>
            <a:ext cx="677862" cy="67786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+mj-lt"/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B20787E-9420-4A4A-82B9-D1C43F866448}"/>
              </a:ext>
            </a:extLst>
          </p:cNvPr>
          <p:cNvSpPr/>
          <p:nvPr userDrawn="1"/>
        </p:nvSpPr>
        <p:spPr>
          <a:xfrm>
            <a:off x="1736154" y="4685818"/>
            <a:ext cx="677862" cy="67786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+mj-lt"/>
              </a:rPr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8D940C0-6C22-E542-B57E-79F5144466A7}"/>
              </a:ext>
            </a:extLst>
          </p:cNvPr>
          <p:cNvSpPr/>
          <p:nvPr userDrawn="1"/>
        </p:nvSpPr>
        <p:spPr>
          <a:xfrm>
            <a:off x="1736154" y="5692815"/>
            <a:ext cx="677862" cy="67786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0781448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, Title and caption, 4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300326"/>
            <a:ext cx="9144000" cy="1965960"/>
          </a:xfrm>
          <a:solidFill>
            <a:schemeClr val="bg1"/>
          </a:solidFill>
        </p:spPr>
        <p:txBody>
          <a:bodyPr lIns="182880" tIns="18288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2505456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133600" y="3794760"/>
            <a:ext cx="4876800" cy="74980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114800" y="3364992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04800" y="5843016"/>
            <a:ext cx="1828800" cy="55778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 hasCustomPrompt="1"/>
          </p:nvPr>
        </p:nvSpPr>
        <p:spPr>
          <a:xfrm>
            <a:off x="862584" y="5029200"/>
            <a:ext cx="713232" cy="71323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584950" y="5843016"/>
            <a:ext cx="1828800" cy="55778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11"/>
          <p:cNvSpPr>
            <a:spLocks noGrp="1"/>
          </p:cNvSpPr>
          <p:nvPr>
            <p:ph type="pic" sz="quarter" idx="18" hasCustomPrompt="1"/>
          </p:nvPr>
        </p:nvSpPr>
        <p:spPr>
          <a:xfrm>
            <a:off x="3142734" y="5029200"/>
            <a:ext cx="713232" cy="71323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4724400" y="5843016"/>
            <a:ext cx="1828800" cy="55778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11"/>
          <p:cNvSpPr>
            <a:spLocks noGrp="1"/>
          </p:cNvSpPr>
          <p:nvPr>
            <p:ph type="pic" sz="quarter" idx="20" hasCustomPrompt="1"/>
          </p:nvPr>
        </p:nvSpPr>
        <p:spPr>
          <a:xfrm>
            <a:off x="5282184" y="5029200"/>
            <a:ext cx="713232" cy="71323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010400" y="5843016"/>
            <a:ext cx="1828800" cy="55778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2" hasCustomPrompt="1"/>
          </p:nvPr>
        </p:nvSpPr>
        <p:spPr>
          <a:xfrm>
            <a:off x="7568184" y="5029200"/>
            <a:ext cx="713232" cy="71323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398231399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, 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9144000" cy="4122518"/>
          </a:xfrm>
          <a:solidFill>
            <a:schemeClr val="bg1"/>
          </a:solidFill>
        </p:spPr>
        <p:txBody>
          <a:bodyPr lIns="182880" tIns="18288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361688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133600" y="5650992"/>
            <a:ext cx="4876800" cy="74980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114800" y="5221224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1155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- no 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ABACED4-DC72-8042-B1E7-4D7D84BCB9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 lIns="182880" tIns="182880"/>
          <a:lstStyle>
            <a:lvl1pPr>
              <a:defRPr/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A4F21BD7-3005-6F45-BF8B-AC51D99750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322771218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132563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045789" y="1155940"/>
            <a:ext cx="1035169" cy="2242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89704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No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463733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umn 1/3 Quote/Vide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18">
            <a:extLst>
              <a:ext uri="{FF2B5EF4-FFF2-40B4-BE49-F238E27FC236}">
                <a16:creationId xmlns:a16="http://schemas.microsoft.com/office/drawing/2014/main" id="{D45BB69F-79D9-4C4A-9C7E-6476B4BAA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DCF5287-6599-F749-88AB-BA78F4600949}"/>
              </a:ext>
            </a:extLst>
          </p:cNvPr>
          <p:cNvSpPr/>
          <p:nvPr userDrawn="1"/>
        </p:nvSpPr>
        <p:spPr>
          <a:xfrm>
            <a:off x="6096000" y="1676400"/>
            <a:ext cx="2743200" cy="4724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0" rIns="18288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100">
              <a:latin typeface="+mj-lt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B575714A-9FA0-3340-9A9E-5F40498C1B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242" y="4038600"/>
            <a:ext cx="2394716" cy="27749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200" i="1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—Author, Click to add text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9A30916-8460-4E48-A358-7B09D2CDE29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5638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16A1526-6884-7F4D-91DB-C7771147D71C}"/>
              </a:ext>
            </a:extLst>
          </p:cNvPr>
          <p:cNvGrpSpPr>
            <a:grpSpLocks noChangeAspect="1"/>
          </p:cNvGrpSpPr>
          <p:nvPr userDrawn="1"/>
        </p:nvGrpSpPr>
        <p:grpSpPr>
          <a:xfrm rot="10800000">
            <a:off x="6262104" y="1846039"/>
            <a:ext cx="324153" cy="213533"/>
            <a:chOff x="7514215" y="3985644"/>
            <a:chExt cx="1052760" cy="693498"/>
          </a:xfrm>
          <a:solidFill>
            <a:schemeClr val="tx1">
              <a:lumMod val="60000"/>
              <a:lumOff val="40000"/>
            </a:schemeClr>
          </a:solidFill>
        </p:grpSpPr>
        <p:sp>
          <p:nvSpPr>
            <p:cNvPr id="10" name="Rectangular Callout 13">
              <a:extLst>
                <a:ext uri="{FF2B5EF4-FFF2-40B4-BE49-F238E27FC236}">
                  <a16:creationId xmlns:a16="http://schemas.microsoft.com/office/drawing/2014/main" id="{6BBCE77B-0DDF-704D-B09F-7BAF3834E428}"/>
                </a:ext>
              </a:extLst>
            </p:cNvPr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Rectangular Callout 13">
              <a:extLst>
                <a:ext uri="{FF2B5EF4-FFF2-40B4-BE49-F238E27FC236}">
                  <a16:creationId xmlns:a16="http://schemas.microsoft.com/office/drawing/2014/main" id="{A98434A3-674F-D444-9C55-ED69294459D6}"/>
                </a:ext>
              </a:extLst>
            </p:cNvPr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C36AB52D-5A37-E84A-89F1-40590D659C9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74308" y="2133099"/>
            <a:ext cx="2386584" cy="1853036"/>
          </a:xfrm>
        </p:spPr>
        <p:txBody>
          <a:bodyPr anchor="t" anchorCtr="0"/>
          <a:lstStyle>
            <a:lvl1pPr>
              <a:lnSpc>
                <a:spcPts val="2400"/>
              </a:lnSpc>
              <a:spcAft>
                <a:spcPts val="0"/>
              </a:spcAft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DBFD8499-6536-7E43-B548-B8D434ECD2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69736" y="4419599"/>
            <a:ext cx="2395728" cy="1825258"/>
          </a:xfrm>
        </p:spPr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Place video when available, delete placeholder if no video</a:t>
            </a:r>
          </a:p>
        </p:txBody>
      </p:sp>
    </p:spTree>
    <p:extLst>
      <p:ext uri="{BB962C8B-B14F-4D97-AF65-F5344CB8AC3E}">
        <p14:creationId xmlns:p14="http://schemas.microsoft.com/office/powerpoint/2010/main" val="327899474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>
                  <a:alpha val="85000"/>
                </a:srgbClr>
              </a:gs>
              <a:gs pos="100000">
                <a:srgbClr val="F1B434">
                  <a:alpha val="85000"/>
                </a:srgbClr>
              </a:gs>
            </a:gsLst>
            <a:lin ang="0" scaled="1"/>
          </a:gradFill>
        </p:spPr>
        <p:txBody>
          <a:bodyPr lIns="457200" tIns="685800" rIns="2286000" bIns="31089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txBody>
          <a:bodyPr lIns="1828800" tIns="1828800" rIns="1828800" bIns="3657600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4118833"/>
            <a:ext cx="3962400" cy="51206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553200" y="6224016"/>
            <a:ext cx="2286000" cy="329184"/>
          </a:xfrm>
        </p:spPr>
        <p:txBody>
          <a:bodyPr>
            <a:noAutofit/>
          </a:bodyPr>
          <a:lstStyle>
            <a:lvl1pPr marL="0" indent="0">
              <a:buNone/>
              <a:defRPr sz="13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lace Euromonitor Logo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0385" y="4732553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884137"/>
            <a:ext cx="914400" cy="82296"/>
          </a:xfr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6" name="Picture Placeholder 5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457200" y="4732553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23" hasCustomPrompt="1"/>
          </p:nvPr>
        </p:nvSpPr>
        <p:spPr>
          <a:xfrm>
            <a:off x="860385" y="5033231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57200" y="5033231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860385" y="5327160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2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457200" y="5327160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860385" y="5621888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457200" y="5621888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24400" y="4119563"/>
            <a:ext cx="3962400" cy="511175"/>
          </a:xfrm>
        </p:spPr>
        <p:txBody>
          <a:bodyPr anchor="ctr">
            <a:noAutofit/>
          </a:bodyPr>
          <a:lstStyle>
            <a:lvl1pPr>
              <a:def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30" hasCustomPrompt="1"/>
          </p:nvPr>
        </p:nvSpPr>
        <p:spPr>
          <a:xfrm>
            <a:off x="5127585" y="4732553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27" name="Picture Placeholder 5"/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4724400" y="4732553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32" hasCustomPrompt="1"/>
          </p:nvPr>
        </p:nvSpPr>
        <p:spPr>
          <a:xfrm>
            <a:off x="5127585" y="5033231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5" name="Picture Placeholder 5"/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4724400" y="5033231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5127585" y="5327160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7" name="Picture Placeholder 5"/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724400" y="5327160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36" hasCustomPrompt="1"/>
          </p:nvPr>
        </p:nvSpPr>
        <p:spPr>
          <a:xfrm>
            <a:off x="5127585" y="5621888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9" name="Picture Placeholder 5"/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4724400" y="5621888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984789846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/>
              </a:gs>
              <a:gs pos="99000">
                <a:srgbClr val="F1B434"/>
              </a:gs>
            </a:gsLst>
            <a:lin ang="0" scaled="1"/>
          </a:gradFill>
        </p:spPr>
        <p:txBody>
          <a:bodyPr lIns="457200" tIns="685800" rIns="2286000" bIns="31089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4118833"/>
            <a:ext cx="3962400" cy="51206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553200" y="6224016"/>
            <a:ext cx="2286000" cy="329184"/>
          </a:xfrm>
        </p:spPr>
        <p:txBody>
          <a:bodyPr>
            <a:noAutofit/>
          </a:bodyPr>
          <a:lstStyle>
            <a:lvl1pPr marL="0" indent="0">
              <a:buNone/>
              <a:defRPr sz="13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lace Euromonitor Logo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0385" y="4732553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884137"/>
            <a:ext cx="914400" cy="82296"/>
          </a:xfr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6" name="Picture Placeholder 5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457200" y="4732553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23" hasCustomPrompt="1"/>
          </p:nvPr>
        </p:nvSpPr>
        <p:spPr>
          <a:xfrm>
            <a:off x="860385" y="5033231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57200" y="5033231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860385" y="5327160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2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457200" y="5327160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860385" y="5621888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457200" y="5621888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24400" y="4119563"/>
            <a:ext cx="3962400" cy="511175"/>
          </a:xfrm>
        </p:spPr>
        <p:txBody>
          <a:bodyPr anchor="ctr">
            <a:noAutofit/>
          </a:bodyPr>
          <a:lstStyle>
            <a:lvl1pPr>
              <a:def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30" hasCustomPrompt="1"/>
          </p:nvPr>
        </p:nvSpPr>
        <p:spPr>
          <a:xfrm>
            <a:off x="5127585" y="4732553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27" name="Picture Placeholder 5"/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4724400" y="4732553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32" hasCustomPrompt="1"/>
          </p:nvPr>
        </p:nvSpPr>
        <p:spPr>
          <a:xfrm>
            <a:off x="5127585" y="5033231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5" name="Picture Placeholder 5"/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4724400" y="5033231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5127585" y="5327160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7" name="Picture Placeholder 5"/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724400" y="5327160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36" hasCustomPrompt="1"/>
          </p:nvPr>
        </p:nvSpPr>
        <p:spPr>
          <a:xfrm>
            <a:off x="5127585" y="5621888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9" name="Picture Placeholder 5"/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4724400" y="5621888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59816006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01752" y="1676399"/>
            <a:ext cx="5641848" cy="74980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8634B61F-C23F-2245-823D-A667580D655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04800" y="2644233"/>
            <a:ext cx="3425952" cy="2276856"/>
          </a:xfrm>
          <a:ln w="6350"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1AEF0C9-D310-874D-BAF9-04B214CE2A0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859025" y="3036616"/>
            <a:ext cx="3425952" cy="2276856"/>
          </a:xfrm>
          <a:ln w="6350"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1C1FC888-DD00-024B-B638-9B10A64BEB2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413250" y="3429000"/>
            <a:ext cx="3425952" cy="2276856"/>
          </a:xfrm>
          <a:ln w="6350"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915CD4B-DAD1-3C40-A9DF-813772C999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5850467"/>
            <a:ext cx="8839202" cy="546606"/>
          </a:xfrm>
          <a:gradFill>
            <a:gsLst>
              <a:gs pos="100000">
                <a:schemeClr val="accent3"/>
              </a:gs>
              <a:gs pos="5000">
                <a:schemeClr val="accent5"/>
              </a:gs>
            </a:gsLst>
            <a:lin ang="0" scaled="1"/>
          </a:gradFill>
        </p:spPr>
        <p:txBody>
          <a:bodyPr lIns="320040" tIns="0" rIns="320040"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075030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>
                  <a:alpha val="85000"/>
                </a:srgbClr>
              </a:gs>
              <a:gs pos="100000">
                <a:srgbClr val="F1B434">
                  <a:alpha val="85000"/>
                </a:srgbClr>
              </a:gs>
            </a:gsLst>
            <a:lin ang="0" scaled="1"/>
          </a:gradFill>
        </p:spPr>
        <p:txBody>
          <a:bodyPr lIns="457200" tIns="685800" rIns="2286000" bIns="31089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txBody>
          <a:bodyPr lIns="1828800" tIns="1828800" rIns="1828800" bIns="3657600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4267199"/>
            <a:ext cx="3962400" cy="165561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</a:p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err="1"/>
              <a:t>email@emailaddress.com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553200" y="6224016"/>
            <a:ext cx="2286000" cy="329184"/>
          </a:xfrm>
        </p:spPr>
        <p:txBody>
          <a:bodyPr>
            <a:noAutofit/>
          </a:bodyPr>
          <a:lstStyle>
            <a:lvl1pPr marL="0" indent="0">
              <a:buNone/>
              <a:defRPr sz="13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lace Euromonitor Logo Here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884137"/>
            <a:ext cx="914400" cy="82296"/>
          </a:xfr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738B60-DA0E-664B-B28E-4B89EA58FC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4400" y="4267200"/>
            <a:ext cx="3962400" cy="16557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</a:p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err="1"/>
              <a:t>email@emailaddress.co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385819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Simp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/>
              </a:gs>
              <a:gs pos="99000">
                <a:srgbClr val="F1B434"/>
              </a:gs>
            </a:gsLst>
            <a:lin ang="0" scaled="1"/>
          </a:gradFill>
        </p:spPr>
        <p:txBody>
          <a:bodyPr lIns="457200" tIns="685800" rIns="2286000" bIns="31089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4263736"/>
            <a:ext cx="3962400" cy="165506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</a:p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err="1"/>
              <a:t>email@emailaddress.com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553200" y="6224016"/>
            <a:ext cx="2286000" cy="329184"/>
          </a:xfrm>
        </p:spPr>
        <p:txBody>
          <a:bodyPr>
            <a:noAutofit/>
          </a:bodyPr>
          <a:lstStyle>
            <a:lvl1pPr marL="0" indent="0">
              <a:buNone/>
              <a:defRPr sz="13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lace Euromonitor Logo Here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884137"/>
            <a:ext cx="914400" cy="82296"/>
          </a:xfr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A9AC02-D06E-5540-8042-478B2219B9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4400" y="4253344"/>
            <a:ext cx="3962400" cy="16654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</a:p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err="1"/>
              <a:t>email@emailaddress.co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54545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References, No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chemeClr val="accent5"/>
              </a:gs>
              <a:gs pos="99000">
                <a:schemeClr val="accent3"/>
              </a:gs>
            </a:gsLst>
            <a:lin ang="0" scaled="1"/>
          </a:gradFill>
        </p:spPr>
        <p:txBody>
          <a:bodyPr lIns="457200" tIns="685800" rIns="2286000" bIns="3108960" anchor="b" anchorCtr="0"/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ext</a:t>
            </a:r>
            <a:endParaRPr lang="en-GB"/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884137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23" name="Rectangle 1028"/>
          <p:cNvSpPr txBox="1">
            <a:spLocks noChangeArrowheads="1"/>
          </p:cNvSpPr>
          <p:nvPr userDrawn="1"/>
        </p:nvSpPr>
        <p:spPr>
          <a:xfrm>
            <a:off x="4724400" y="4118833"/>
            <a:ext cx="3962400" cy="19897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  <a:lvl2pPr marL="466344" marR="0" indent="-28575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Char char="§"/>
              <a:tabLst/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9224" marR="0" indent="-28575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Char char="§"/>
              <a:tabLst/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2104" marR="0" indent="-28575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Char char="§"/>
              <a:tabLst/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4984" marR="0" indent="-28575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Char char="§"/>
              <a:tabLst/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defRPr/>
            </a:pP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119563"/>
            <a:ext cx="3962400" cy="1989137"/>
          </a:xfrm>
          <a:prstGeom prst="rect">
            <a:avLst/>
          </a:prstGeom>
        </p:spPr>
        <p:txBody>
          <a:bodyPr anchor="t"/>
          <a:lstStyle>
            <a:lvl1pPr>
              <a:lnSpc>
                <a:spcPts val="14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ts val="14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ts val="14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ts val="14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ts val="14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24400" y="4119563"/>
            <a:ext cx="3962400" cy="1989137"/>
          </a:xfrm>
          <a:prstGeom prst="rect">
            <a:avLst/>
          </a:prstGeom>
        </p:spPr>
        <p:txBody>
          <a:bodyPr anchor="t"/>
          <a:lstStyle>
            <a:lvl1pPr>
              <a:lnSpc>
                <a:spcPts val="14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ts val="14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ts val="14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ts val="14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ts val="14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553200" y="6227064"/>
            <a:ext cx="2286000" cy="32918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600"/>
              </a:spcAft>
              <a:buClrTx/>
              <a:buSzPct val="100000"/>
              <a:buFont typeface="Wingdings" charset="2"/>
              <a:buNone/>
              <a:tabLst/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Place EMI Logo Her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627047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ebinar -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chemeClr val="accent5"/>
              </a:gs>
              <a:gs pos="99000">
                <a:schemeClr val="accent3"/>
              </a:gs>
            </a:gsLst>
            <a:lin ang="0" scaled="1"/>
          </a:gradFill>
        </p:spPr>
        <p:txBody>
          <a:bodyPr lIns="457200" tIns="685800" rIns="2286000" bIns="4389120" anchor="b" anchorCtr="0"/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ext</a:t>
            </a:r>
            <a:endParaRPr lang="en-GB"/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61735" y="2888815"/>
            <a:ext cx="3410712" cy="64008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161736" y="3536505"/>
            <a:ext cx="34102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2617564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23" hasCustomPrompt="1"/>
          </p:nvPr>
        </p:nvSpPr>
        <p:spPr>
          <a:xfrm>
            <a:off x="5023935" y="2888815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729665" y="2888815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5023935" y="3210640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2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4729665" y="3214680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5023935" y="3536505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3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4729665" y="3540545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57200" y="2888815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Profile Picture</a:t>
            </a:r>
          </a:p>
        </p:txBody>
      </p:sp>
      <p:sp>
        <p:nvSpPr>
          <p:cNvPr id="99" name="Picture Placeholder 3"/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57200" y="4010525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Profile Picture</a:t>
            </a:r>
          </a:p>
        </p:txBody>
      </p:sp>
      <p:sp>
        <p:nvSpPr>
          <p:cNvPr id="96" name="Text Placeholder 95"/>
          <p:cNvSpPr>
            <a:spLocks noGrp="1"/>
          </p:cNvSpPr>
          <p:nvPr>
            <p:ph type="body" sz="quarter" idx="31" hasCustomPrompt="1"/>
          </p:nvPr>
        </p:nvSpPr>
        <p:spPr>
          <a:xfrm>
            <a:off x="1161736" y="4010525"/>
            <a:ext cx="3409950" cy="63658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  <a:endParaRPr lang="en-GB"/>
          </a:p>
        </p:txBody>
      </p:sp>
      <p:sp>
        <p:nvSpPr>
          <p:cNvPr id="102" name="Text Placeholder 9"/>
          <p:cNvSpPr>
            <a:spLocks noGrp="1"/>
          </p:cNvSpPr>
          <p:nvPr>
            <p:ph type="body" sz="quarter" idx="32" hasCustomPrompt="1"/>
          </p:nvPr>
        </p:nvSpPr>
        <p:spPr>
          <a:xfrm>
            <a:off x="1161736" y="4657162"/>
            <a:ext cx="34102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103" name="Text Placeholder 9"/>
          <p:cNvSpPr>
            <a:spLocks noGrp="1"/>
          </p:cNvSpPr>
          <p:nvPr>
            <p:ph type="body" sz="quarter" idx="33" hasCustomPrompt="1"/>
          </p:nvPr>
        </p:nvSpPr>
        <p:spPr>
          <a:xfrm>
            <a:off x="5023935" y="4010525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104" name="Picture Placeholder 5"/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729665" y="4010525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05" name="Text Placeholder 9"/>
          <p:cNvSpPr>
            <a:spLocks noGrp="1"/>
          </p:cNvSpPr>
          <p:nvPr>
            <p:ph type="body" sz="quarter" idx="35" hasCustomPrompt="1"/>
          </p:nvPr>
        </p:nvSpPr>
        <p:spPr>
          <a:xfrm>
            <a:off x="5023935" y="4332834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106" name="Picture Placeholder 5"/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729665" y="4336874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09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023935" y="4657162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110" name="Picture Placeholder 5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29665" y="4661202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1" name="Picture Placeholder 3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57200" y="5139200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Profile Picture</a:t>
            </a:r>
          </a:p>
        </p:txBody>
      </p:sp>
      <p:sp>
        <p:nvSpPr>
          <p:cNvPr id="112" name="Text Placeholder 95"/>
          <p:cNvSpPr>
            <a:spLocks noGrp="1"/>
          </p:cNvSpPr>
          <p:nvPr>
            <p:ph type="body" sz="quarter" idx="40" hasCustomPrompt="1"/>
          </p:nvPr>
        </p:nvSpPr>
        <p:spPr>
          <a:xfrm>
            <a:off x="1161736" y="5139200"/>
            <a:ext cx="3409950" cy="63658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  <a:endParaRPr lang="en-GB"/>
          </a:p>
        </p:txBody>
      </p:sp>
      <p:sp>
        <p:nvSpPr>
          <p:cNvPr id="113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1161736" y="5785837"/>
            <a:ext cx="34102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114" name="Text Placeholder 9"/>
          <p:cNvSpPr>
            <a:spLocks noGrp="1"/>
          </p:cNvSpPr>
          <p:nvPr>
            <p:ph type="body" sz="quarter" idx="42" hasCustomPrompt="1"/>
          </p:nvPr>
        </p:nvSpPr>
        <p:spPr>
          <a:xfrm>
            <a:off x="5023935" y="5139200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115" name="Picture Placeholder 5"/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4729665" y="5139200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6" name="Text Placeholder 9"/>
          <p:cNvSpPr>
            <a:spLocks noGrp="1"/>
          </p:cNvSpPr>
          <p:nvPr>
            <p:ph type="body" sz="quarter" idx="44" hasCustomPrompt="1"/>
          </p:nvPr>
        </p:nvSpPr>
        <p:spPr>
          <a:xfrm>
            <a:off x="5023935" y="5461509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117" name="Picture Placeholder 5"/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4729665" y="5465549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18" name="Text Placeholder 9"/>
          <p:cNvSpPr>
            <a:spLocks noGrp="1"/>
          </p:cNvSpPr>
          <p:nvPr>
            <p:ph type="body" sz="quarter" idx="46" hasCustomPrompt="1"/>
          </p:nvPr>
        </p:nvSpPr>
        <p:spPr>
          <a:xfrm>
            <a:off x="5023935" y="5785837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ocial Media</a:t>
            </a:r>
          </a:p>
        </p:txBody>
      </p:sp>
      <p:sp>
        <p:nvSpPr>
          <p:cNvPr id="119" name="Picture Placeholder 5"/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4729665" y="5789877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48" hasCustomPrompt="1"/>
          </p:nvPr>
        </p:nvSpPr>
        <p:spPr>
          <a:xfrm>
            <a:off x="6553200" y="6227064"/>
            <a:ext cx="2286000" cy="3291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402036374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ebinar -  4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chemeClr val="accent5"/>
              </a:gs>
              <a:gs pos="99000">
                <a:schemeClr val="accent3"/>
              </a:gs>
            </a:gsLst>
            <a:lin ang="0" scaled="1"/>
          </a:gradFill>
        </p:spPr>
        <p:txBody>
          <a:bodyPr lIns="457200" tIns="685800" rIns="2286000" bIns="3566160" anchor="b" anchorCtr="0"/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ext</a:t>
            </a:r>
            <a:endParaRPr lang="en-GB"/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61735" y="3624051"/>
            <a:ext cx="3257865" cy="64008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161737" y="4271741"/>
            <a:ext cx="32578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352800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57200" y="3624051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Profile Picture</a:t>
            </a:r>
          </a:p>
        </p:txBody>
      </p:sp>
      <p:sp>
        <p:nvSpPr>
          <p:cNvPr id="99" name="Picture Placeholder 3"/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57200" y="4882692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Profile Picture</a:t>
            </a:r>
          </a:p>
        </p:txBody>
      </p:sp>
      <p:sp>
        <p:nvSpPr>
          <p:cNvPr id="96" name="Text Placeholder 95"/>
          <p:cNvSpPr>
            <a:spLocks noGrp="1"/>
          </p:cNvSpPr>
          <p:nvPr>
            <p:ph type="body" sz="quarter" idx="31" hasCustomPrompt="1"/>
          </p:nvPr>
        </p:nvSpPr>
        <p:spPr>
          <a:xfrm>
            <a:off x="1161736" y="4882692"/>
            <a:ext cx="3257864" cy="63658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  <a:endParaRPr lang="en-GB"/>
          </a:p>
        </p:txBody>
      </p:sp>
      <p:sp>
        <p:nvSpPr>
          <p:cNvPr id="102" name="Text Placeholder 9"/>
          <p:cNvSpPr>
            <a:spLocks noGrp="1"/>
          </p:cNvSpPr>
          <p:nvPr>
            <p:ph type="body" sz="quarter" idx="32" hasCustomPrompt="1"/>
          </p:nvPr>
        </p:nvSpPr>
        <p:spPr>
          <a:xfrm>
            <a:off x="1161737" y="5529329"/>
            <a:ext cx="3257864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111" name="Picture Placeholder 3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724401" y="3625104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Profile Picture</a:t>
            </a:r>
          </a:p>
        </p:txBody>
      </p:sp>
      <p:sp>
        <p:nvSpPr>
          <p:cNvPr id="112" name="Text Placeholder 95"/>
          <p:cNvSpPr>
            <a:spLocks noGrp="1"/>
          </p:cNvSpPr>
          <p:nvPr>
            <p:ph type="body" sz="quarter" idx="40" hasCustomPrompt="1"/>
          </p:nvPr>
        </p:nvSpPr>
        <p:spPr>
          <a:xfrm>
            <a:off x="5428937" y="3625104"/>
            <a:ext cx="3257863" cy="63658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600"/>
              </a:spcAft>
              <a:buClrTx/>
              <a:buSzPct val="100000"/>
              <a:buFont typeface="Wingdings" charset="2"/>
              <a:buNone/>
              <a:tabLst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600"/>
              </a:spcAft>
              <a:buClrTx/>
              <a:buSzPct val="100000"/>
              <a:buFont typeface="Wingdings" charset="2"/>
              <a:buNone/>
              <a:tabLst/>
              <a:defRPr/>
            </a:pPr>
            <a:r>
              <a:rPr lang="en-US"/>
              <a:t>Name, Title</a:t>
            </a:r>
            <a:endParaRPr lang="en-GB"/>
          </a:p>
        </p:txBody>
      </p:sp>
      <p:sp>
        <p:nvSpPr>
          <p:cNvPr id="113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5428937" y="4271741"/>
            <a:ext cx="32578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35" name="Picture Placeholder 3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4724401" y="4882692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Profile Picture</a:t>
            </a:r>
          </a:p>
        </p:txBody>
      </p:sp>
      <p:sp>
        <p:nvSpPr>
          <p:cNvPr id="36" name="Text Placeholder 95"/>
          <p:cNvSpPr>
            <a:spLocks noGrp="1"/>
          </p:cNvSpPr>
          <p:nvPr>
            <p:ph type="body" sz="quarter" idx="43" hasCustomPrompt="1"/>
          </p:nvPr>
        </p:nvSpPr>
        <p:spPr>
          <a:xfrm>
            <a:off x="5428937" y="4882692"/>
            <a:ext cx="3257863" cy="63658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Name, Title</a:t>
            </a:r>
            <a:endParaRPr lang="en-GB"/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44" hasCustomPrompt="1"/>
          </p:nvPr>
        </p:nvSpPr>
        <p:spPr>
          <a:xfrm>
            <a:off x="5428937" y="5529329"/>
            <a:ext cx="32578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 addres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45" hasCustomPrompt="1"/>
          </p:nvPr>
        </p:nvSpPr>
        <p:spPr>
          <a:xfrm>
            <a:off x="6553200" y="6227064"/>
            <a:ext cx="2286000" cy="3291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877390546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>
                  <a:alpha val="85000"/>
                </a:srgbClr>
              </a:gs>
              <a:gs pos="100000">
                <a:srgbClr val="F1B434">
                  <a:alpha val="85000"/>
                </a:srgbClr>
              </a:gs>
            </a:gsLst>
            <a:lin ang="0" scaled="1"/>
          </a:gradFill>
        </p:spPr>
        <p:txBody>
          <a:bodyPr lIns="457200" tIns="685800" rIns="2286000" bIns="228600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37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txBody>
          <a:bodyPr lIns="1828800" tIns="1188720" rIns="1828800" anchor="t" anchorCtr="0">
            <a:noAutofit/>
          </a:bodyPr>
          <a:lstStyle>
            <a:lvl1pPr marL="0" indent="0" algn="ctr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4118833"/>
            <a:ext cx="3962400" cy="51206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51470" y="4732553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884137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 hasCustomPrompt="1"/>
          </p:nvPr>
        </p:nvSpPr>
        <p:spPr>
          <a:xfrm>
            <a:off x="457201" y="4732553"/>
            <a:ext cx="219456" cy="29260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23" hasCustomPrompt="1"/>
          </p:nvPr>
        </p:nvSpPr>
        <p:spPr>
          <a:xfrm>
            <a:off x="751470" y="5033231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457201" y="5033231"/>
            <a:ext cx="219456" cy="29260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51470" y="5327160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457201" y="5327160"/>
            <a:ext cx="219456" cy="29260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751470" y="5621888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4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457201" y="5621888"/>
            <a:ext cx="219456" cy="29260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4" name="Picture Placeholder 2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6979920" y="6224019"/>
            <a:ext cx="2011680" cy="3862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00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Place </a:t>
            </a:r>
            <a:r>
              <a:rPr lang="en-US" err="1"/>
              <a:t>Euromonitor</a:t>
            </a:r>
            <a:r>
              <a:rPr lang="en-US"/>
              <a:t> Log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/>
          </p:nvPr>
        </p:nvSpPr>
        <p:spPr>
          <a:xfrm>
            <a:off x="4724400" y="4119034"/>
            <a:ext cx="3962400" cy="51223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39" hasCustomPrompt="1"/>
          </p:nvPr>
        </p:nvSpPr>
        <p:spPr>
          <a:xfrm>
            <a:off x="5018672" y="4732553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35" name="Picture Placeholder 5"/>
          <p:cNvSpPr>
            <a:spLocks noGrp="1"/>
          </p:cNvSpPr>
          <p:nvPr>
            <p:ph type="pic" sz="quarter" idx="40" hasCustomPrompt="1"/>
          </p:nvPr>
        </p:nvSpPr>
        <p:spPr>
          <a:xfrm>
            <a:off x="4724402" y="4732553"/>
            <a:ext cx="219456" cy="29260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5018672" y="5033231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7" name="Picture Placeholder 5"/>
          <p:cNvSpPr>
            <a:spLocks noGrp="1"/>
          </p:cNvSpPr>
          <p:nvPr>
            <p:ph type="pic" sz="quarter" idx="42" hasCustomPrompt="1"/>
          </p:nvPr>
        </p:nvSpPr>
        <p:spPr>
          <a:xfrm>
            <a:off x="4724402" y="5033231"/>
            <a:ext cx="219456" cy="29260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43" hasCustomPrompt="1"/>
          </p:nvPr>
        </p:nvSpPr>
        <p:spPr>
          <a:xfrm>
            <a:off x="5018672" y="5327160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9" name="Picture Placeholder 5"/>
          <p:cNvSpPr>
            <a:spLocks noGrp="1"/>
          </p:cNvSpPr>
          <p:nvPr>
            <p:ph type="pic" sz="quarter" idx="44" hasCustomPrompt="1"/>
          </p:nvPr>
        </p:nvSpPr>
        <p:spPr>
          <a:xfrm>
            <a:off x="4724402" y="5327160"/>
            <a:ext cx="219456" cy="29260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0" name="Text Placeholder 9"/>
          <p:cNvSpPr>
            <a:spLocks noGrp="1"/>
          </p:cNvSpPr>
          <p:nvPr>
            <p:ph type="body" sz="quarter" idx="45" hasCustomPrompt="1"/>
          </p:nvPr>
        </p:nvSpPr>
        <p:spPr>
          <a:xfrm>
            <a:off x="5018672" y="5621888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41" name="Picture Placeholder 5"/>
          <p:cNvSpPr>
            <a:spLocks noGrp="1"/>
          </p:cNvSpPr>
          <p:nvPr>
            <p:ph type="pic" sz="quarter" idx="46" hasCustomPrompt="1"/>
          </p:nvPr>
        </p:nvSpPr>
        <p:spPr>
          <a:xfrm>
            <a:off x="4724402" y="5621888"/>
            <a:ext cx="219456" cy="29260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2446659227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1"/>
            <a:ext cx="7772400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1"/>
            <a:ext cx="64008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1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253068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100" b="0" i="0">
                <a:solidFill>
                  <a:srgbClr val="414141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rgbClr val="31607A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1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458155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100" b="0" i="0">
                <a:solidFill>
                  <a:srgbClr val="414141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1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7990429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100" b="0" i="0">
                <a:solidFill>
                  <a:srgbClr val="414141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1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470772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4114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/>
          </p:nvPr>
        </p:nvSpPr>
        <p:spPr>
          <a:xfrm>
            <a:off x="4724400" y="1676400"/>
            <a:ext cx="4114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218942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1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318754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675"/>
              </a:lnSpc>
              <a:spcBef>
                <a:spcPts val="0"/>
              </a:spcBef>
              <a:spcAft>
                <a:spcPts val="0"/>
              </a:spcAft>
              <a:buNone/>
              <a:defRPr sz="675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1575"/>
            </a:lvl2pPr>
            <a:lvl3pPr marL="0" indent="0" algn="ctr">
              <a:buNone/>
              <a:defRPr sz="1575"/>
            </a:lvl3pPr>
            <a:lvl4pPr marL="0" indent="0" algn="ctr">
              <a:buNone/>
              <a:defRPr sz="1575"/>
            </a:lvl4pPr>
            <a:lvl5pPr marL="0" indent="0" algn="ctr">
              <a:buNone/>
              <a:defRPr sz="157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Placeholder 18">
            <a:extLst>
              <a:ext uri="{FF2B5EF4-FFF2-40B4-BE49-F238E27FC236}">
                <a16:creationId xmlns:a16="http://schemas.microsoft.com/office/drawing/2014/main" id="{D45BB69F-79D9-4C4A-9C7E-6476B4BAA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116684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585216" y="1243584"/>
            <a:ext cx="7973568" cy="1292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44"/>
          </p:nvPr>
        </p:nvSpPr>
        <p:spPr>
          <a:xfrm>
            <a:off x="585216" y="603504"/>
            <a:ext cx="7973568" cy="218008"/>
          </a:xfrm>
        </p:spPr>
        <p:txBody>
          <a:bodyPr anchor="t" anchorCtr="0"/>
          <a:lstStyle>
            <a:lvl1pPr marL="0" indent="0">
              <a:lnSpc>
                <a:spcPts val="1725"/>
              </a:lnSpc>
              <a:spcBef>
                <a:spcPts val="0"/>
              </a:spcBef>
              <a:spcAft>
                <a:spcPts val="0"/>
              </a:spcAft>
              <a:buNone/>
              <a:defRPr sz="1575" kern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85216" y="402336"/>
            <a:ext cx="7973568" cy="109454"/>
          </a:xfrm>
          <a:prstGeom prst="rect">
            <a:avLst/>
          </a:prstGeom>
        </p:spPr>
        <p:txBody>
          <a:bodyPr lIns="0"/>
          <a:lstStyle>
            <a:lvl1pPr>
              <a:lnSpc>
                <a:spcPts val="900"/>
              </a:lnSpc>
              <a:defRPr sz="675" b="0" i="0" kern="0" cap="all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5" hasCustomPrompt="1"/>
          </p:nvPr>
        </p:nvSpPr>
        <p:spPr>
          <a:xfrm>
            <a:off x="582615" y="6053139"/>
            <a:ext cx="7978775" cy="126958"/>
          </a:xfrm>
        </p:spPr>
        <p:txBody>
          <a:bodyPr/>
          <a:lstStyle>
            <a:lvl1pPr marL="0" indent="0" algn="r">
              <a:buNone/>
              <a:defRPr sz="825" i="1"/>
            </a:lvl1pPr>
          </a:lstStyle>
          <a:p>
            <a:pPr lvl="0"/>
            <a:r>
              <a:rPr lang="en-US" dirty="0"/>
              <a:t>Caption Here</a:t>
            </a:r>
          </a:p>
        </p:txBody>
      </p:sp>
    </p:spTree>
    <p:extLst>
      <p:ext uri="{BB962C8B-B14F-4D97-AF65-F5344CB8AC3E}">
        <p14:creationId xmlns:p14="http://schemas.microsoft.com/office/powerpoint/2010/main" val="842441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4"/>
          <p:cNvSpPr>
            <a:spLocks noGrp="1"/>
          </p:cNvSpPr>
          <p:nvPr>
            <p:ph sz="quarter" idx="15"/>
          </p:nvPr>
        </p:nvSpPr>
        <p:spPr>
          <a:xfrm>
            <a:off x="32004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6"/>
          </p:nvPr>
        </p:nvSpPr>
        <p:spPr>
          <a:xfrm>
            <a:off x="60960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2112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Cont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3967566"/>
            <a:ext cx="2743200" cy="243323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4"/>
          <p:cNvSpPr>
            <a:spLocks noGrp="1"/>
          </p:cNvSpPr>
          <p:nvPr>
            <p:ph sz="quarter" idx="15"/>
          </p:nvPr>
        </p:nvSpPr>
        <p:spPr>
          <a:xfrm>
            <a:off x="3200400" y="3967566"/>
            <a:ext cx="2743200" cy="243323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6"/>
          </p:nvPr>
        </p:nvSpPr>
        <p:spPr>
          <a:xfrm>
            <a:off x="6096000" y="3967566"/>
            <a:ext cx="2743200" cy="243323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304800" y="1676400"/>
            <a:ext cx="2743200" cy="19842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image, chart or ic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18" hasCustomPrompt="1"/>
          </p:nvPr>
        </p:nvSpPr>
        <p:spPr>
          <a:xfrm>
            <a:off x="3200400" y="1676400"/>
            <a:ext cx="2743200" cy="19842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image, chart or ic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 hasCustomPrompt="1"/>
          </p:nvPr>
        </p:nvSpPr>
        <p:spPr>
          <a:xfrm>
            <a:off x="6096000" y="1676400"/>
            <a:ext cx="2743200" cy="19842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image, chart or ic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2A9863-4611-8140-87B3-053612E468B0}"/>
              </a:ext>
            </a:extLst>
          </p:cNvPr>
          <p:cNvSpPr txBox="1"/>
          <p:nvPr userDrawn="1"/>
        </p:nvSpPr>
        <p:spPr>
          <a:xfrm>
            <a:off x="3657600" y="900223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7003625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w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4"/>
          <p:cNvSpPr>
            <a:spLocks noGrp="1"/>
          </p:cNvSpPr>
          <p:nvPr>
            <p:ph sz="quarter" idx="14"/>
          </p:nvPr>
        </p:nvSpPr>
        <p:spPr>
          <a:xfrm>
            <a:off x="3200400" y="1676400"/>
            <a:ext cx="5638800" cy="1463039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2A9863-4611-8140-87B3-053612E468B0}"/>
              </a:ext>
            </a:extLst>
          </p:cNvPr>
          <p:cNvSpPr txBox="1"/>
          <p:nvPr userDrawn="1"/>
        </p:nvSpPr>
        <p:spPr>
          <a:xfrm>
            <a:off x="3657600" y="900223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1DC0C7D6-8A14-2948-A546-72193D47CA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4800" y="1676399"/>
            <a:ext cx="2743200" cy="146303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3EB60C35-BDB9-094A-981F-EBFB0C662AA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200400" y="3305628"/>
            <a:ext cx="5638800" cy="1463039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A990F5B3-DF0F-E240-98B1-DFD3554C6CC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4800" y="3305627"/>
            <a:ext cx="2743200" cy="146303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9B830F57-5731-244E-BBC8-303CA435BDB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200400" y="4934857"/>
            <a:ext cx="5638800" cy="1463039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00BC5D54-8B37-7443-A934-B5897E9F42C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04800" y="4934856"/>
            <a:ext cx="2743200" cy="1463039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7719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 Middle,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048000" y="1524000"/>
            <a:ext cx="3047999" cy="533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/>
          </p:nvPr>
        </p:nvSpPr>
        <p:spPr>
          <a:xfrm>
            <a:off x="3200400" y="1676400"/>
            <a:ext cx="2743200" cy="47244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0" y="1524000"/>
            <a:ext cx="3048000" cy="5334000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image or chart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6095999" y="1534332"/>
            <a:ext cx="3048001" cy="5323668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image or chart</a:t>
            </a:r>
          </a:p>
        </p:txBody>
      </p:sp>
    </p:spTree>
    <p:extLst>
      <p:ext uri="{BB962C8B-B14F-4D97-AF65-F5344CB8AC3E}">
        <p14:creationId xmlns:p14="http://schemas.microsoft.com/office/powerpoint/2010/main" val="2162788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/>
              </a:gs>
              <a:gs pos="99000">
                <a:srgbClr val="F1B434"/>
              </a:gs>
            </a:gsLst>
            <a:lin ang="0" scaled="1"/>
          </a:gradFill>
        </p:spPr>
        <p:txBody>
          <a:bodyPr lIns="457200" tIns="685800" rIns="2286000" bIns="21945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/>
          </p:nvPr>
        </p:nvSpPr>
        <p:spPr>
          <a:xfrm>
            <a:off x="457200" y="5029199"/>
            <a:ext cx="5486400" cy="61371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6553200" y="6225862"/>
            <a:ext cx="2286000" cy="3291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200" y="5642919"/>
            <a:ext cx="5486400" cy="4695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4794504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200" y="6225862"/>
            <a:ext cx="3200400" cy="33310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000" baseline="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Partner Logo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4046375241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, 2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304800" y="457200"/>
            <a:ext cx="27432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219200" y="1219200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3200400" y="302217"/>
            <a:ext cx="5943600" cy="6555783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image or chart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5FC88EE-031E-F14F-8CE4-B97F27BFA4B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4091361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umn 1/3 Column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/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5638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15"/>
          </p:nvPr>
        </p:nvSpPr>
        <p:spPr>
          <a:xfrm>
            <a:off x="60960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45484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umn 1/3 Column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/>
          </p:nvPr>
        </p:nvSpPr>
        <p:spPr>
          <a:xfrm>
            <a:off x="3200400" y="1676400"/>
            <a:ext cx="5638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14060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umn, Split Column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4114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/>
          </p:nvPr>
        </p:nvSpPr>
        <p:spPr>
          <a:xfrm>
            <a:off x="47244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6"/>
          </p:nvPr>
        </p:nvSpPr>
        <p:spPr>
          <a:xfrm>
            <a:off x="47244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22633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umn, Split Column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/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5"/>
          </p:nvPr>
        </p:nvSpPr>
        <p:spPr>
          <a:xfrm>
            <a:off x="3048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6"/>
          </p:nvPr>
        </p:nvSpPr>
        <p:spPr>
          <a:xfrm>
            <a:off x="4724400" y="1676400"/>
            <a:ext cx="41148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65167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umn, Split Column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2743200" cy="4724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/>
          </p:nvPr>
        </p:nvSpPr>
        <p:spPr>
          <a:xfrm>
            <a:off x="3200400" y="1676400"/>
            <a:ext cx="5638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4"/>
          <p:cNvSpPr>
            <a:spLocks noGrp="1"/>
          </p:cNvSpPr>
          <p:nvPr>
            <p:ph sz="quarter" idx="16"/>
          </p:nvPr>
        </p:nvSpPr>
        <p:spPr>
          <a:xfrm>
            <a:off x="3200400" y="4114800"/>
            <a:ext cx="5638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20854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lumn, Split Column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/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5638800" cy="228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5"/>
          </p:nvPr>
        </p:nvSpPr>
        <p:spPr>
          <a:xfrm>
            <a:off x="304800" y="4114800"/>
            <a:ext cx="5638800" cy="228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6"/>
          </p:nvPr>
        </p:nvSpPr>
        <p:spPr>
          <a:xfrm>
            <a:off x="6096000" y="1676400"/>
            <a:ext cx="2743200" cy="472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7402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Hal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04800" y="1676400"/>
            <a:ext cx="8534400" cy="22860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dirty="0"/>
              <a:t>Insert image, chart or table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304800" y="4114800"/>
            <a:ext cx="8534400" cy="228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Insert image,  chart or table</a:t>
            </a:r>
          </a:p>
        </p:txBody>
      </p:sp>
    </p:spTree>
    <p:extLst>
      <p:ext uri="{BB962C8B-B14F-4D97-AF65-F5344CB8AC3E}">
        <p14:creationId xmlns:p14="http://schemas.microsoft.com/office/powerpoint/2010/main" val="41448500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Half, Two Quarters (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04800" y="1676400"/>
            <a:ext cx="8534400" cy="22860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dirty="0"/>
              <a:t>Insert image, chart or table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/>
          </p:nvPr>
        </p:nvSpPr>
        <p:spPr>
          <a:xfrm>
            <a:off x="3048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6"/>
          </p:nvPr>
        </p:nvSpPr>
        <p:spPr>
          <a:xfrm>
            <a:off x="47244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0096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Half, Three Half-Columns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4" hasCustomPrompt="1"/>
          </p:nvPr>
        </p:nvSpPr>
        <p:spPr>
          <a:xfrm>
            <a:off x="304800" y="1676400"/>
            <a:ext cx="8534400" cy="228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Insert image, chart or table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5"/>
          </p:nvPr>
        </p:nvSpPr>
        <p:spPr>
          <a:xfrm>
            <a:off x="304800" y="4114800"/>
            <a:ext cx="27432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5"/>
          <p:cNvSpPr>
            <a:spLocks noGrp="1"/>
          </p:cNvSpPr>
          <p:nvPr>
            <p:ph sz="quarter" idx="16"/>
          </p:nvPr>
        </p:nvSpPr>
        <p:spPr>
          <a:xfrm>
            <a:off x="3200400" y="4114800"/>
            <a:ext cx="27432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5"/>
          <p:cNvSpPr>
            <a:spLocks noGrp="1"/>
          </p:cNvSpPr>
          <p:nvPr>
            <p:ph sz="quarter" idx="17"/>
          </p:nvPr>
        </p:nvSpPr>
        <p:spPr>
          <a:xfrm>
            <a:off x="6096000" y="4114800"/>
            <a:ext cx="27432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2768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Overview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Overview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5240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5240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5240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5240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100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8100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100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38100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60960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0960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0960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10000" y="1066800"/>
            <a:ext cx="1417608" cy="365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02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Half, Three Half-Columns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4" hasCustomPrompt="1"/>
          </p:nvPr>
        </p:nvSpPr>
        <p:spPr>
          <a:xfrm>
            <a:off x="304800" y="1676400"/>
            <a:ext cx="8534400" cy="228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Insert image, chart or table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5"/>
          </p:nvPr>
        </p:nvSpPr>
        <p:spPr>
          <a:xfrm>
            <a:off x="304801" y="4114800"/>
            <a:ext cx="1911096" cy="228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6"/>
          </p:nvPr>
        </p:nvSpPr>
        <p:spPr>
          <a:xfrm>
            <a:off x="2510971" y="4114800"/>
            <a:ext cx="1911096" cy="228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7"/>
          </p:nvPr>
        </p:nvSpPr>
        <p:spPr>
          <a:xfrm>
            <a:off x="4724400" y="4114800"/>
            <a:ext cx="1911096" cy="228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9D94EC2-CC3B-6041-BF45-29BEC093504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30572" y="4114800"/>
            <a:ext cx="1911096" cy="228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33217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Half, Two Quarters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/>
          </p:nvPr>
        </p:nvSpPr>
        <p:spPr>
          <a:xfrm>
            <a:off x="47244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304800" y="4114800"/>
            <a:ext cx="8534400" cy="2286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Insert image, chart or table</a:t>
            </a:r>
          </a:p>
        </p:txBody>
      </p:sp>
    </p:spTree>
    <p:extLst>
      <p:ext uri="{BB962C8B-B14F-4D97-AF65-F5344CB8AC3E}">
        <p14:creationId xmlns:p14="http://schemas.microsoft.com/office/powerpoint/2010/main" val="34287857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r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5"/>
          </p:nvPr>
        </p:nvSpPr>
        <p:spPr>
          <a:xfrm>
            <a:off x="3048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4"/>
          <p:cNvSpPr>
            <a:spLocks noGrp="1"/>
          </p:cNvSpPr>
          <p:nvPr>
            <p:ph sz="quarter" idx="16"/>
          </p:nvPr>
        </p:nvSpPr>
        <p:spPr>
          <a:xfrm>
            <a:off x="4724400" y="16764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7"/>
          </p:nvPr>
        </p:nvSpPr>
        <p:spPr>
          <a:xfrm>
            <a:off x="4724400" y="4114800"/>
            <a:ext cx="4114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6252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rters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2633472"/>
            <a:ext cx="41148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9324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6"/>
          </p:nvPr>
        </p:nvSpPr>
        <p:spPr>
          <a:xfrm>
            <a:off x="4724400" y="2633472"/>
            <a:ext cx="41148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63520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2" name="Content Placeholder 4"/>
          <p:cNvSpPr>
            <a:spLocks noGrp="1"/>
          </p:cNvSpPr>
          <p:nvPr>
            <p:ph sz="quarter" idx="18"/>
          </p:nvPr>
        </p:nvSpPr>
        <p:spPr>
          <a:xfrm>
            <a:off x="304800" y="5084064"/>
            <a:ext cx="41148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19324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4" name="Content Placeholder 4"/>
          <p:cNvSpPr>
            <a:spLocks noGrp="1"/>
          </p:cNvSpPr>
          <p:nvPr>
            <p:ph sz="quarter" idx="20"/>
          </p:nvPr>
        </p:nvSpPr>
        <p:spPr>
          <a:xfrm>
            <a:off x="4724400" y="5084064"/>
            <a:ext cx="41148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Picture Placehold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3520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7135452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4"/>
          </p:nvPr>
        </p:nvSpPr>
        <p:spPr>
          <a:xfrm>
            <a:off x="304800" y="2633472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275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6"/>
          </p:nvPr>
        </p:nvSpPr>
        <p:spPr>
          <a:xfrm>
            <a:off x="2514600" y="2633472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373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8"/>
          </p:nvPr>
        </p:nvSpPr>
        <p:spPr>
          <a:xfrm>
            <a:off x="4724400" y="2633472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2471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20"/>
          </p:nvPr>
        </p:nvSpPr>
        <p:spPr>
          <a:xfrm>
            <a:off x="6934200" y="2633472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Picture Placehold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7456932" y="1676400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22"/>
          </p:nvPr>
        </p:nvSpPr>
        <p:spPr>
          <a:xfrm>
            <a:off x="304800" y="5084064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Picture Placeholder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8275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5" name="Content Placeholder 4"/>
          <p:cNvSpPr>
            <a:spLocks noGrp="1"/>
          </p:cNvSpPr>
          <p:nvPr>
            <p:ph sz="quarter" idx="24"/>
          </p:nvPr>
        </p:nvSpPr>
        <p:spPr>
          <a:xfrm>
            <a:off x="2514600" y="5084064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30373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7" name="Content Placeholder 4"/>
          <p:cNvSpPr>
            <a:spLocks noGrp="1"/>
          </p:cNvSpPr>
          <p:nvPr>
            <p:ph sz="quarter" idx="26"/>
          </p:nvPr>
        </p:nvSpPr>
        <p:spPr>
          <a:xfrm>
            <a:off x="4724400" y="5084064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2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52471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9" name="Content Placeholder 4"/>
          <p:cNvSpPr>
            <a:spLocks noGrp="1"/>
          </p:cNvSpPr>
          <p:nvPr>
            <p:ph sz="quarter" idx="28"/>
          </p:nvPr>
        </p:nvSpPr>
        <p:spPr>
          <a:xfrm>
            <a:off x="6934200" y="5084064"/>
            <a:ext cx="1905000" cy="13167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7456932" y="4126992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1838811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Icons-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4"/>
          </p:nvPr>
        </p:nvSpPr>
        <p:spPr>
          <a:xfrm>
            <a:off x="1485900" y="2645047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2008632" y="1687975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6"/>
          </p:nvPr>
        </p:nvSpPr>
        <p:spPr>
          <a:xfrm>
            <a:off x="3695700" y="2645047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218432" y="1687975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8"/>
          </p:nvPr>
        </p:nvSpPr>
        <p:spPr>
          <a:xfrm>
            <a:off x="5905500" y="2645047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428232" y="1687975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20"/>
          </p:nvPr>
        </p:nvSpPr>
        <p:spPr>
          <a:xfrm>
            <a:off x="1638300" y="4273797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Picture Placehold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2161032" y="3316725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22"/>
          </p:nvPr>
        </p:nvSpPr>
        <p:spPr>
          <a:xfrm>
            <a:off x="3695700" y="4258019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Picture Placeholder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218432" y="3300947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5" name="Content Placeholder 4"/>
          <p:cNvSpPr>
            <a:spLocks noGrp="1"/>
          </p:cNvSpPr>
          <p:nvPr>
            <p:ph sz="quarter" idx="24"/>
          </p:nvPr>
        </p:nvSpPr>
        <p:spPr>
          <a:xfrm>
            <a:off x="5905500" y="4258019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6428232" y="3300947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7" name="Content Placeholder 4"/>
          <p:cNvSpPr>
            <a:spLocks noGrp="1"/>
          </p:cNvSpPr>
          <p:nvPr>
            <p:ph sz="quarter" idx="26"/>
          </p:nvPr>
        </p:nvSpPr>
        <p:spPr>
          <a:xfrm>
            <a:off x="2514600" y="5888736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Picture Placeholder 2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037332" y="4931664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9" name="Content Placeholder 4"/>
          <p:cNvSpPr>
            <a:spLocks noGrp="1"/>
          </p:cNvSpPr>
          <p:nvPr>
            <p:ph sz="quarter" idx="28"/>
          </p:nvPr>
        </p:nvSpPr>
        <p:spPr>
          <a:xfrm>
            <a:off x="4724400" y="5888736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5247132" y="4931664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11776737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-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4"/>
          </p:nvPr>
        </p:nvSpPr>
        <p:spPr>
          <a:xfrm>
            <a:off x="1485900" y="2645047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2008632" y="1687975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6"/>
          </p:nvPr>
        </p:nvSpPr>
        <p:spPr>
          <a:xfrm>
            <a:off x="3695700" y="2645047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218432" y="1687975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8"/>
          </p:nvPr>
        </p:nvSpPr>
        <p:spPr>
          <a:xfrm>
            <a:off x="5905500" y="2645047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428232" y="1687975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20"/>
          </p:nvPr>
        </p:nvSpPr>
        <p:spPr>
          <a:xfrm>
            <a:off x="1638300" y="4273797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Picture Placehold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2161032" y="3316725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22"/>
          </p:nvPr>
        </p:nvSpPr>
        <p:spPr>
          <a:xfrm>
            <a:off x="3695700" y="4258019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Picture Placeholder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4218432" y="3300947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5" name="Content Placeholder 4"/>
          <p:cNvSpPr>
            <a:spLocks noGrp="1"/>
          </p:cNvSpPr>
          <p:nvPr>
            <p:ph sz="quarter" idx="24"/>
          </p:nvPr>
        </p:nvSpPr>
        <p:spPr>
          <a:xfrm>
            <a:off x="5905500" y="4258019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6428232" y="3300947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7" name="Content Placeholder 4"/>
          <p:cNvSpPr>
            <a:spLocks noGrp="1"/>
          </p:cNvSpPr>
          <p:nvPr>
            <p:ph sz="quarter" idx="26"/>
          </p:nvPr>
        </p:nvSpPr>
        <p:spPr>
          <a:xfrm>
            <a:off x="1620078" y="5888736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Picture Placeholder 2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142810" y="4931664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9" name="Content Placeholder 4"/>
          <p:cNvSpPr>
            <a:spLocks noGrp="1"/>
          </p:cNvSpPr>
          <p:nvPr>
            <p:ph sz="quarter" idx="28"/>
          </p:nvPr>
        </p:nvSpPr>
        <p:spPr>
          <a:xfrm>
            <a:off x="3695700" y="5888736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218432" y="4931664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05E83E75-B82C-9341-9DC6-4DDCD46CD802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5905500" y="5905579"/>
            <a:ext cx="1905000" cy="51206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AD0007C4-690F-9D41-B880-5A9FA97F81EC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6428232" y="4948507"/>
            <a:ext cx="859536" cy="859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13750793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thodolog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4"/>
          </p:nvPr>
        </p:nvSpPr>
        <p:spPr>
          <a:xfrm>
            <a:off x="1784984" y="2176828"/>
            <a:ext cx="1536192" cy="1005840"/>
          </a:xfrm>
        </p:spPr>
        <p:txBody>
          <a:bodyPr>
            <a:noAutofit/>
          </a:bodyPr>
          <a:lstStyle>
            <a:lvl2pPr>
              <a:lnSpc>
                <a:spcPts val="1400"/>
              </a:lnSpc>
              <a:defRPr lang="en-US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indent="-171450">
              <a:lnSpc>
                <a:spcPts val="1300"/>
              </a:lnSpc>
              <a:defRPr sz="1100"/>
            </a:lvl3pPr>
          </a:lstStyle>
          <a:p>
            <a:pPr marL="100586" lvl="1" indent="-100586" algn="l" defTabSz="914400" rtl="0" eaLnBrk="1" latinLnBrk="0" hangingPunct="1">
              <a:spcAft>
                <a:spcPts val="300"/>
              </a:spcAft>
              <a:buFont typeface="Wingdings" pitchFamily="2" charset="2"/>
              <a:buChar char="§"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419224" y="1685925"/>
            <a:ext cx="365760" cy="365760"/>
          </a:xfrm>
        </p:spPr>
        <p:txBody>
          <a:bodyPr anchor="t"/>
          <a:lstStyle>
            <a:lvl1pPr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1704F75-8C15-DA4A-A9C5-A8ABF99D6DA5}"/>
              </a:ext>
            </a:extLst>
          </p:cNvPr>
          <p:cNvSpPr txBox="1"/>
          <p:nvPr userDrawn="1"/>
        </p:nvSpPr>
        <p:spPr>
          <a:xfrm>
            <a:off x="1901244" y="1696233"/>
            <a:ext cx="1371600" cy="36576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lvl="0"/>
            <a:r>
              <a:rPr lang="en-GB" sz="1600" dirty="0"/>
              <a:t>Strategy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AA907A6E-FECA-5747-98AC-78D6FF1D5D3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999604" y="2176828"/>
            <a:ext cx="1536192" cy="1005840"/>
          </a:xfrm>
        </p:spPr>
        <p:txBody>
          <a:bodyPr>
            <a:noAutofit/>
          </a:bodyPr>
          <a:lstStyle>
            <a:lvl2pPr marL="171450" indent="-171450">
              <a:defRPr lang="en-US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indent="-171450">
              <a:lnSpc>
                <a:spcPts val="1300"/>
              </a:lnSpc>
              <a:defRPr sz="1100"/>
            </a:lvl3pPr>
          </a:lstStyle>
          <a:p>
            <a:pPr marL="100586" marR="0" lvl="1" indent="-100586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DAC4AB32-4A1C-1646-8DAD-0EB7C0B1E83F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630796" y="1685925"/>
            <a:ext cx="365760" cy="365760"/>
          </a:xfrm>
        </p:spPr>
        <p:txBody>
          <a:bodyPr anchor="t"/>
          <a:lstStyle>
            <a:lvl1pPr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1B1102E-A2E2-7144-A0D3-A4B19BC3344C}"/>
              </a:ext>
            </a:extLst>
          </p:cNvPr>
          <p:cNvSpPr txBox="1"/>
          <p:nvPr userDrawn="1"/>
        </p:nvSpPr>
        <p:spPr>
          <a:xfrm>
            <a:off x="4114580" y="1696233"/>
            <a:ext cx="1371600" cy="36576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lvl="0"/>
            <a:r>
              <a:rPr lang="en-GB" sz="1600" dirty="0"/>
              <a:t>Marketing</a:t>
            </a:r>
          </a:p>
        </p:txBody>
      </p:sp>
      <p:sp>
        <p:nvSpPr>
          <p:cNvPr id="36" name="Content Placeholder 4">
            <a:extLst>
              <a:ext uri="{FF2B5EF4-FFF2-40B4-BE49-F238E27FC236}">
                <a16:creationId xmlns:a16="http://schemas.microsoft.com/office/drawing/2014/main" id="{984828CE-12BF-7843-A925-E2DF7A785C1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11176" y="2176828"/>
            <a:ext cx="1536192" cy="1005840"/>
          </a:xfrm>
        </p:spPr>
        <p:txBody>
          <a:bodyPr>
            <a:noAutofit/>
          </a:bodyPr>
          <a:lstStyle>
            <a:lvl2pPr marL="171450" indent="-171450">
              <a:defRPr lang="en-US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indent="-171450">
              <a:lnSpc>
                <a:spcPts val="1300"/>
              </a:lnSpc>
              <a:defRPr sz="1100"/>
            </a:lvl3pPr>
          </a:lstStyle>
          <a:p>
            <a:pPr marL="100586" marR="0" lvl="1" indent="-100586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C240EFE8-1BBF-4844-9FF3-F02A574717F2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842368" y="1685925"/>
            <a:ext cx="365760" cy="365760"/>
          </a:xfrm>
        </p:spPr>
        <p:txBody>
          <a:bodyPr anchor="t"/>
          <a:lstStyle>
            <a:lvl1pPr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8EA35B7-38E3-3049-B51F-4FF7FD998C40}"/>
              </a:ext>
            </a:extLst>
          </p:cNvPr>
          <p:cNvSpPr txBox="1"/>
          <p:nvPr userDrawn="1"/>
        </p:nvSpPr>
        <p:spPr>
          <a:xfrm>
            <a:off x="6326152" y="1696233"/>
            <a:ext cx="1371600" cy="36576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lvl="0"/>
            <a:r>
              <a:rPr lang="en-GB" sz="1600" dirty="0"/>
              <a:t>Commercial</a:t>
            </a:r>
          </a:p>
        </p:txBody>
      </p:sp>
      <p:sp>
        <p:nvSpPr>
          <p:cNvPr id="39" name="Content Placeholder 4">
            <a:extLst>
              <a:ext uri="{FF2B5EF4-FFF2-40B4-BE49-F238E27FC236}">
                <a16:creationId xmlns:a16="http://schemas.microsoft.com/office/drawing/2014/main" id="{3EAB869C-D705-A940-9189-B7A23A46D74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784984" y="3844508"/>
            <a:ext cx="1536192" cy="1005840"/>
          </a:xfrm>
        </p:spPr>
        <p:txBody>
          <a:bodyPr>
            <a:noAutofit/>
          </a:bodyPr>
          <a:lstStyle>
            <a:lvl2pPr marL="171450" indent="-171450">
              <a:defRPr lang="en-US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indent="-171450">
              <a:lnSpc>
                <a:spcPts val="1300"/>
              </a:lnSpc>
              <a:defRPr sz="1100"/>
            </a:lvl3pPr>
          </a:lstStyle>
          <a:p>
            <a:pPr marL="100586" marR="0" lvl="1" indent="-100586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40" name="Picture Placeholder 2">
            <a:extLst>
              <a:ext uri="{FF2B5EF4-FFF2-40B4-BE49-F238E27FC236}">
                <a16:creationId xmlns:a16="http://schemas.microsoft.com/office/drawing/2014/main" id="{580776C0-959C-934D-82C2-07289E702AA1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1419224" y="3365479"/>
            <a:ext cx="365760" cy="365760"/>
          </a:xfrm>
        </p:spPr>
        <p:txBody>
          <a:bodyPr anchor="t"/>
          <a:lstStyle>
            <a:lvl1pPr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215A090-5024-2C4C-A373-95721D7306B5}"/>
              </a:ext>
            </a:extLst>
          </p:cNvPr>
          <p:cNvSpPr txBox="1"/>
          <p:nvPr userDrawn="1"/>
        </p:nvSpPr>
        <p:spPr>
          <a:xfrm>
            <a:off x="1901244" y="3365479"/>
            <a:ext cx="1371600" cy="36576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lvl="0">
              <a:lnSpc>
                <a:spcPts val="1600"/>
              </a:lnSpc>
            </a:pPr>
            <a:r>
              <a:rPr lang="en-GB" sz="1600" dirty="0"/>
              <a:t>Research &amp; </a:t>
            </a:r>
            <a:br>
              <a:rPr lang="en-GB" sz="1600" dirty="0"/>
            </a:br>
            <a:r>
              <a:rPr lang="en-GB" sz="1600" dirty="0"/>
              <a:t>Development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2D15FEEF-FF75-7B40-A5AC-8E1A0FA6AB5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999604" y="3844508"/>
            <a:ext cx="1536192" cy="1005840"/>
          </a:xfrm>
        </p:spPr>
        <p:txBody>
          <a:bodyPr>
            <a:noAutofit/>
          </a:bodyPr>
          <a:lstStyle>
            <a:lvl2pPr marL="171450" indent="-171450">
              <a:defRPr lang="en-US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indent="-171450">
              <a:lnSpc>
                <a:spcPts val="1300"/>
              </a:lnSpc>
              <a:defRPr sz="1100"/>
            </a:lvl3pPr>
          </a:lstStyle>
          <a:p>
            <a:pPr marL="100586" marR="0" lvl="1" indent="-100586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43" name="Picture Placeholder 2">
            <a:extLst>
              <a:ext uri="{FF2B5EF4-FFF2-40B4-BE49-F238E27FC236}">
                <a16:creationId xmlns:a16="http://schemas.microsoft.com/office/drawing/2014/main" id="{83365481-FE11-1543-A0EA-F98C12D01B73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3630796" y="3365479"/>
            <a:ext cx="365760" cy="365760"/>
          </a:xfrm>
        </p:spPr>
        <p:txBody>
          <a:bodyPr anchor="t"/>
          <a:lstStyle>
            <a:lvl1pPr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05510FC-0B06-2845-8EF9-810BACEE77F5}"/>
              </a:ext>
            </a:extLst>
          </p:cNvPr>
          <p:cNvSpPr txBox="1"/>
          <p:nvPr userDrawn="1"/>
        </p:nvSpPr>
        <p:spPr>
          <a:xfrm>
            <a:off x="4114580" y="3365479"/>
            <a:ext cx="1371600" cy="36576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lvl="0"/>
            <a:r>
              <a:rPr lang="en-GB" sz="1600" dirty="0"/>
              <a:t>Operations</a:t>
            </a:r>
          </a:p>
        </p:txBody>
      </p:sp>
      <p:sp>
        <p:nvSpPr>
          <p:cNvPr id="45" name="Content Placeholder 4">
            <a:extLst>
              <a:ext uri="{FF2B5EF4-FFF2-40B4-BE49-F238E27FC236}">
                <a16:creationId xmlns:a16="http://schemas.microsoft.com/office/drawing/2014/main" id="{49C3659B-2B3C-FD40-977A-B522E70DE9B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11176" y="3844508"/>
            <a:ext cx="1536192" cy="1005840"/>
          </a:xfrm>
        </p:spPr>
        <p:txBody>
          <a:bodyPr>
            <a:noAutofit/>
          </a:bodyPr>
          <a:lstStyle>
            <a:lvl2pPr marL="171450" indent="-171450">
              <a:defRPr lang="en-US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indent="-171450">
              <a:lnSpc>
                <a:spcPts val="1300"/>
              </a:lnSpc>
              <a:defRPr sz="1100"/>
            </a:lvl3pPr>
          </a:lstStyle>
          <a:p>
            <a:pPr marL="100586" marR="0" lvl="1" indent="-100586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15F46A25-C799-1540-A658-84B305F454C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5842368" y="3365479"/>
            <a:ext cx="365760" cy="365760"/>
          </a:xfrm>
        </p:spPr>
        <p:txBody>
          <a:bodyPr anchor="t"/>
          <a:lstStyle>
            <a:lvl1pPr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2DC5556-CF3A-9345-AB5C-6D7F0E16D3C9}"/>
              </a:ext>
            </a:extLst>
          </p:cNvPr>
          <p:cNvSpPr txBox="1"/>
          <p:nvPr userDrawn="1"/>
        </p:nvSpPr>
        <p:spPr>
          <a:xfrm>
            <a:off x="6326152" y="3365479"/>
            <a:ext cx="1371600" cy="36576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lvl="0"/>
            <a:r>
              <a:rPr lang="en-GB" sz="1600" dirty="0"/>
              <a:t>Finance</a:t>
            </a:r>
          </a:p>
        </p:txBody>
      </p:sp>
      <p:sp>
        <p:nvSpPr>
          <p:cNvPr id="48" name="Content Placeholder 4">
            <a:extLst>
              <a:ext uri="{FF2B5EF4-FFF2-40B4-BE49-F238E27FC236}">
                <a16:creationId xmlns:a16="http://schemas.microsoft.com/office/drawing/2014/main" id="{6AD33B7D-E2D4-574D-B540-C138E70D6F2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999604" y="5498784"/>
            <a:ext cx="1536192" cy="1005840"/>
          </a:xfrm>
        </p:spPr>
        <p:txBody>
          <a:bodyPr>
            <a:noAutofit/>
          </a:bodyPr>
          <a:lstStyle>
            <a:lvl2pPr marL="171450" indent="-171450">
              <a:defRPr lang="en-US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indent="-171450">
              <a:lnSpc>
                <a:spcPts val="1300"/>
              </a:lnSpc>
              <a:defRPr sz="1100"/>
            </a:lvl3pPr>
          </a:lstStyle>
          <a:p>
            <a:pPr marL="100586" marR="0" lvl="1" indent="-100586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  <a:tabLst/>
            </a:pPr>
            <a:r>
              <a:rPr lang="en-US" dirty="0"/>
              <a:t>Click to edit Master text styles</a:t>
            </a:r>
          </a:p>
        </p:txBody>
      </p:sp>
      <p:sp>
        <p:nvSpPr>
          <p:cNvPr id="49" name="Picture Placeholder 2">
            <a:extLst>
              <a:ext uri="{FF2B5EF4-FFF2-40B4-BE49-F238E27FC236}">
                <a16:creationId xmlns:a16="http://schemas.microsoft.com/office/drawing/2014/main" id="{585AA653-54FE-194E-A1FF-907A73B32373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630796" y="5020645"/>
            <a:ext cx="365760" cy="365760"/>
          </a:xfrm>
        </p:spPr>
        <p:txBody>
          <a:bodyPr anchor="t"/>
          <a:lstStyle>
            <a:lvl1pPr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495500D-D53D-B74C-90D3-37EAC8C45011}"/>
              </a:ext>
            </a:extLst>
          </p:cNvPr>
          <p:cNvSpPr txBox="1"/>
          <p:nvPr userDrawn="1"/>
        </p:nvSpPr>
        <p:spPr>
          <a:xfrm>
            <a:off x="4114580" y="5020645"/>
            <a:ext cx="1371600" cy="36576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lvl="0"/>
            <a:r>
              <a:rPr lang="en-GB" sz="1600" dirty="0"/>
              <a:t>Corporat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21BFC76-F8FB-964D-83C7-FC5AA51A5824}"/>
              </a:ext>
            </a:extLst>
          </p:cNvPr>
          <p:cNvSpPr txBox="1"/>
          <p:nvPr userDrawn="1"/>
        </p:nvSpPr>
        <p:spPr>
          <a:xfrm>
            <a:off x="9612116" y="4177756"/>
            <a:ext cx="1371600" cy="36576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/>
          <a:p>
            <a:pPr lvl="0"/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449809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_1/3 Image, Split Column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/>
          </p:nvPr>
        </p:nvSpPr>
        <p:spPr>
          <a:xfrm>
            <a:off x="3200400" y="1676399"/>
            <a:ext cx="5638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4"/>
          <p:cNvSpPr>
            <a:spLocks noGrp="1"/>
          </p:cNvSpPr>
          <p:nvPr>
            <p:ph sz="quarter" idx="15"/>
          </p:nvPr>
        </p:nvSpPr>
        <p:spPr>
          <a:xfrm>
            <a:off x="3200400" y="4114800"/>
            <a:ext cx="5638800" cy="228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304800" y="1676399"/>
            <a:ext cx="2587752" cy="2441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0960330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Descriptions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/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sz="quarter" idx="14"/>
          </p:nvPr>
        </p:nvSpPr>
        <p:spPr>
          <a:xfrm>
            <a:off x="2569464" y="1676400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700784" y="1676400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mage or icon</a:t>
            </a:r>
          </a:p>
        </p:txBody>
      </p:sp>
      <p:sp>
        <p:nvSpPr>
          <p:cNvPr id="23" name="Content Placeholder 5"/>
          <p:cNvSpPr>
            <a:spLocks noGrp="1"/>
          </p:cNvSpPr>
          <p:nvPr>
            <p:ph sz="quarter" idx="16"/>
          </p:nvPr>
        </p:nvSpPr>
        <p:spPr>
          <a:xfrm>
            <a:off x="2569464" y="2679192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700784" y="2679192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mage or icon</a:t>
            </a:r>
          </a:p>
        </p:txBody>
      </p:sp>
      <p:sp>
        <p:nvSpPr>
          <p:cNvPr id="27" name="Content Placeholder 5"/>
          <p:cNvSpPr>
            <a:spLocks noGrp="1"/>
          </p:cNvSpPr>
          <p:nvPr>
            <p:ph sz="quarter" idx="18"/>
          </p:nvPr>
        </p:nvSpPr>
        <p:spPr>
          <a:xfrm>
            <a:off x="2569464" y="3681984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1700784" y="3681984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mage or icon</a:t>
            </a:r>
          </a:p>
        </p:txBody>
      </p:sp>
      <p:sp>
        <p:nvSpPr>
          <p:cNvPr id="29" name="Content Placeholder 5"/>
          <p:cNvSpPr>
            <a:spLocks noGrp="1"/>
          </p:cNvSpPr>
          <p:nvPr>
            <p:ph sz="quarter" idx="20"/>
          </p:nvPr>
        </p:nvSpPr>
        <p:spPr>
          <a:xfrm>
            <a:off x="2569464" y="4684776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1700784" y="4684776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mage or icon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22"/>
          </p:nvPr>
        </p:nvSpPr>
        <p:spPr>
          <a:xfrm>
            <a:off x="2569464" y="5687568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1700784" y="5687568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mage or icon</a:t>
            </a:r>
          </a:p>
        </p:txBody>
      </p:sp>
    </p:spTree>
    <p:extLst>
      <p:ext uri="{BB962C8B-B14F-4D97-AF65-F5344CB8AC3E}">
        <p14:creationId xmlns:p14="http://schemas.microsoft.com/office/powerpoint/2010/main" val="1013982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Overview 4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Overview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56409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056409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056409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409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28956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8956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8956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8956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7244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7244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7244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65532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65532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65532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4" hasCustomPrompt="1"/>
          </p:nvPr>
        </p:nvSpPr>
        <p:spPr>
          <a:xfrm>
            <a:off x="65532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3810000" y="1066800"/>
            <a:ext cx="1417608" cy="365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9817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ive Descriptions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/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sz="quarter" idx="14"/>
          </p:nvPr>
        </p:nvSpPr>
        <p:spPr>
          <a:xfrm>
            <a:off x="2569464" y="2033352"/>
            <a:ext cx="4873752" cy="7132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700784" y="1676400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mage or icon</a:t>
            </a:r>
          </a:p>
        </p:txBody>
      </p:sp>
      <p:sp>
        <p:nvSpPr>
          <p:cNvPr id="23" name="Content Placeholder 5"/>
          <p:cNvSpPr>
            <a:spLocks noGrp="1"/>
          </p:cNvSpPr>
          <p:nvPr>
            <p:ph sz="quarter" idx="16"/>
          </p:nvPr>
        </p:nvSpPr>
        <p:spPr>
          <a:xfrm>
            <a:off x="2569464" y="3425597"/>
            <a:ext cx="4873752" cy="7132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700784" y="3068645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mage or icon</a:t>
            </a:r>
          </a:p>
        </p:txBody>
      </p:sp>
      <p:sp>
        <p:nvSpPr>
          <p:cNvPr id="27" name="Content Placeholder 5"/>
          <p:cNvSpPr>
            <a:spLocks noGrp="1"/>
          </p:cNvSpPr>
          <p:nvPr>
            <p:ph sz="quarter" idx="18"/>
          </p:nvPr>
        </p:nvSpPr>
        <p:spPr>
          <a:xfrm>
            <a:off x="2569464" y="4803953"/>
            <a:ext cx="4873752" cy="7132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Picture Placeholder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1700784" y="4447001"/>
            <a:ext cx="713232" cy="7135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mage or icon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CCD33211-9CE2-D847-B13B-DA401783E37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569464" y="1686219"/>
            <a:ext cx="4873752" cy="269581"/>
          </a:xfrm>
        </p:spPr>
        <p:txBody>
          <a:bodyPr/>
          <a:lstStyle/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1BEC539A-395C-7E4F-B1AE-F4C919A79F4A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569464" y="3069997"/>
            <a:ext cx="4873752" cy="269581"/>
          </a:xfrm>
        </p:spPr>
        <p:txBody>
          <a:bodyPr/>
          <a:lstStyle/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AD2555D7-E88C-FE49-B65E-687A5881F1B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569464" y="4447001"/>
            <a:ext cx="4873752" cy="269581"/>
          </a:xfrm>
        </p:spPr>
        <p:txBody>
          <a:bodyPr/>
          <a:lstStyle/>
          <a:p>
            <a:pPr lv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17588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ve Descriptions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/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sz="quarter" idx="14"/>
          </p:nvPr>
        </p:nvSpPr>
        <p:spPr>
          <a:xfrm>
            <a:off x="2569464" y="1676400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5"/>
          <p:cNvSpPr>
            <a:spLocks noGrp="1"/>
          </p:cNvSpPr>
          <p:nvPr>
            <p:ph sz="quarter" idx="16"/>
          </p:nvPr>
        </p:nvSpPr>
        <p:spPr>
          <a:xfrm>
            <a:off x="2569464" y="2679192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5"/>
          <p:cNvSpPr>
            <a:spLocks noGrp="1"/>
          </p:cNvSpPr>
          <p:nvPr>
            <p:ph sz="quarter" idx="18"/>
          </p:nvPr>
        </p:nvSpPr>
        <p:spPr>
          <a:xfrm>
            <a:off x="2569464" y="3681984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Content Placeholder 5"/>
          <p:cNvSpPr>
            <a:spLocks noGrp="1"/>
          </p:cNvSpPr>
          <p:nvPr>
            <p:ph sz="quarter" idx="20"/>
          </p:nvPr>
        </p:nvSpPr>
        <p:spPr>
          <a:xfrm>
            <a:off x="2569464" y="4684776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22"/>
          </p:nvPr>
        </p:nvSpPr>
        <p:spPr>
          <a:xfrm>
            <a:off x="2569464" y="5687568"/>
            <a:ext cx="4873752" cy="713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4B78EA9-882F-4C4C-BB39-9731699F6100}"/>
              </a:ext>
            </a:extLst>
          </p:cNvPr>
          <p:cNvSpPr/>
          <p:nvPr userDrawn="1"/>
        </p:nvSpPr>
        <p:spPr>
          <a:xfrm>
            <a:off x="1736154" y="1676400"/>
            <a:ext cx="677862" cy="67786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1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A2B06BA-B66C-BE4B-9FBD-78F1FA6DC0E6}"/>
              </a:ext>
            </a:extLst>
          </p:cNvPr>
          <p:cNvSpPr/>
          <p:nvPr userDrawn="1"/>
        </p:nvSpPr>
        <p:spPr>
          <a:xfrm>
            <a:off x="1736154" y="2671823"/>
            <a:ext cx="677862" cy="67786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AB1F025-BE6C-7446-B686-D88DA2FF15D4}"/>
              </a:ext>
            </a:extLst>
          </p:cNvPr>
          <p:cNvSpPr/>
          <p:nvPr userDrawn="1"/>
        </p:nvSpPr>
        <p:spPr>
          <a:xfrm>
            <a:off x="1736154" y="3678821"/>
            <a:ext cx="677862" cy="67786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B20787E-9420-4A4A-82B9-D1C43F866448}"/>
              </a:ext>
            </a:extLst>
          </p:cNvPr>
          <p:cNvSpPr/>
          <p:nvPr userDrawn="1"/>
        </p:nvSpPr>
        <p:spPr>
          <a:xfrm>
            <a:off x="1736154" y="4685818"/>
            <a:ext cx="677862" cy="67786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8D940C0-6C22-E542-B57E-79F5144466A7}"/>
              </a:ext>
            </a:extLst>
          </p:cNvPr>
          <p:cNvSpPr/>
          <p:nvPr userDrawn="1"/>
        </p:nvSpPr>
        <p:spPr>
          <a:xfrm>
            <a:off x="1736154" y="5692815"/>
            <a:ext cx="677862" cy="67786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577933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, Title and caption, 4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300326"/>
            <a:ext cx="9144000" cy="1965960"/>
          </a:xfrm>
          <a:solidFill>
            <a:schemeClr val="bg1"/>
          </a:solidFill>
        </p:spPr>
        <p:txBody>
          <a:bodyPr lIns="182880" tIns="18288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2505456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133600" y="3794760"/>
            <a:ext cx="4876800" cy="74980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114800" y="3364992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04800" y="5843016"/>
            <a:ext cx="1828800" cy="55778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 hasCustomPrompt="1"/>
          </p:nvPr>
        </p:nvSpPr>
        <p:spPr>
          <a:xfrm>
            <a:off x="862584" y="5029200"/>
            <a:ext cx="713232" cy="71323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584950" y="5843016"/>
            <a:ext cx="1828800" cy="55778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11"/>
          <p:cNvSpPr>
            <a:spLocks noGrp="1"/>
          </p:cNvSpPr>
          <p:nvPr>
            <p:ph type="pic" sz="quarter" idx="18" hasCustomPrompt="1"/>
          </p:nvPr>
        </p:nvSpPr>
        <p:spPr>
          <a:xfrm>
            <a:off x="3142734" y="5029200"/>
            <a:ext cx="713232" cy="71323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4724400" y="5843016"/>
            <a:ext cx="1828800" cy="55778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11"/>
          <p:cNvSpPr>
            <a:spLocks noGrp="1"/>
          </p:cNvSpPr>
          <p:nvPr>
            <p:ph type="pic" sz="quarter" idx="20" hasCustomPrompt="1"/>
          </p:nvPr>
        </p:nvSpPr>
        <p:spPr>
          <a:xfrm>
            <a:off x="5282184" y="5029200"/>
            <a:ext cx="713232" cy="71323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7010400" y="5843016"/>
            <a:ext cx="1828800" cy="55778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22" hasCustomPrompt="1"/>
          </p:nvPr>
        </p:nvSpPr>
        <p:spPr>
          <a:xfrm>
            <a:off x="7568184" y="5029200"/>
            <a:ext cx="713232" cy="71323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27294503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, 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9144000" cy="4122518"/>
          </a:xfrm>
          <a:solidFill>
            <a:schemeClr val="bg1"/>
          </a:solidFill>
        </p:spPr>
        <p:txBody>
          <a:bodyPr lIns="182880" tIns="18288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361688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133600" y="5650992"/>
            <a:ext cx="4876800" cy="74980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114800" y="5221224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6056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op, 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2735482"/>
            <a:ext cx="9144000" cy="4122518"/>
          </a:xfrm>
          <a:solidFill>
            <a:schemeClr val="bg1"/>
          </a:solidFill>
        </p:spPr>
        <p:txBody>
          <a:bodyPr lIns="182880" tIns="18288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 hasCustomPrompt="1"/>
          </p:nvPr>
        </p:nvSpPr>
        <p:spPr>
          <a:xfrm>
            <a:off x="2133600" y="457200"/>
            <a:ext cx="4876800" cy="609600"/>
          </a:xfrm>
        </p:spPr>
        <p:txBody>
          <a:bodyPr anchor="ctr">
            <a:noAutofit/>
          </a:bodyPr>
          <a:lstStyle>
            <a:lvl1pPr algn="ctr">
              <a:lnSpc>
                <a:spcPts val="2400"/>
              </a:lnSpc>
              <a:defRPr sz="21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133600" y="1676400"/>
            <a:ext cx="4876800" cy="749808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4ACFB3FB-74F5-514C-9AD2-CBEDADD70B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448" y="54864"/>
            <a:ext cx="6702552" cy="1920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 sz="2100"/>
            </a:lvl2pPr>
            <a:lvl3pPr marL="0" indent="0" algn="ctr">
              <a:buNone/>
              <a:defRPr sz="2100"/>
            </a:lvl3pPr>
            <a:lvl4pPr marL="0" indent="0" algn="ctr">
              <a:buNone/>
              <a:defRPr sz="2100"/>
            </a:lvl4pPr>
            <a:lvl5pPr marL="0" indent="0" algn="ctr">
              <a:buNone/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7361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- no 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ABACED4-DC72-8042-B1E7-4D7D84BCB9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 lIns="182880" tIns="182880"/>
          <a:lstStyle>
            <a:lvl1pPr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A4F21BD7-3005-6F45-BF8B-AC51D99750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7292298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34525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045789" y="1155940"/>
            <a:ext cx="1035169" cy="2242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1002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- No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15371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>
                  <a:alpha val="85000"/>
                </a:srgbClr>
              </a:gs>
              <a:gs pos="100000">
                <a:srgbClr val="F1B434">
                  <a:alpha val="85000"/>
                </a:srgbClr>
              </a:gs>
            </a:gsLst>
            <a:lin ang="0" scaled="1"/>
          </a:gradFill>
        </p:spPr>
        <p:txBody>
          <a:bodyPr lIns="457200" tIns="685800" rIns="2286000" bIns="31089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txBody>
          <a:bodyPr lIns="1828800" tIns="1828800" rIns="1828800" bIns="3657600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insert an image, change to Black and White then right click image and “SEND TO BACK”</a:t>
            </a:r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4118833"/>
            <a:ext cx="3962400" cy="51206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553200" y="6224016"/>
            <a:ext cx="2286000" cy="329184"/>
          </a:xfrm>
        </p:spPr>
        <p:txBody>
          <a:bodyPr>
            <a:noAutofit/>
          </a:bodyPr>
          <a:lstStyle>
            <a:lvl1pPr marL="0" indent="0">
              <a:buNone/>
              <a:defRPr sz="13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Euromonitor Logo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0385" y="4732553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884137"/>
            <a:ext cx="914400" cy="82296"/>
          </a:xfr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6" name="Picture Placeholder 5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457200" y="4732553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23" hasCustomPrompt="1"/>
          </p:nvPr>
        </p:nvSpPr>
        <p:spPr>
          <a:xfrm>
            <a:off x="860385" y="5033231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57200" y="5033231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860385" y="5327160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2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457200" y="5327160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860385" y="5621888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457200" y="5621888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24400" y="4119563"/>
            <a:ext cx="3962400" cy="511175"/>
          </a:xfrm>
        </p:spPr>
        <p:txBody>
          <a:bodyPr anchor="ctr">
            <a:noAutofit/>
          </a:bodyPr>
          <a:lstStyle>
            <a:lvl1pPr>
              <a:def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30" hasCustomPrompt="1"/>
          </p:nvPr>
        </p:nvSpPr>
        <p:spPr>
          <a:xfrm>
            <a:off x="5127585" y="4732553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27" name="Picture Placeholder 5"/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4724400" y="4732553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32" hasCustomPrompt="1"/>
          </p:nvPr>
        </p:nvSpPr>
        <p:spPr>
          <a:xfrm>
            <a:off x="5127585" y="5033231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5" name="Picture Placeholder 5"/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4724400" y="5033231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5127585" y="5327160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7" name="Picture Placeholder 5"/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724400" y="5327160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36" hasCustomPrompt="1"/>
          </p:nvPr>
        </p:nvSpPr>
        <p:spPr>
          <a:xfrm>
            <a:off x="5127585" y="5621888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9" name="Picture Placeholder 5"/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4724400" y="5621888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57616915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Overview 5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Overview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4572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21336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1336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1336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1336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8100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8100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8100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38100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54864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4864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54864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4" hasCustomPrompt="1"/>
          </p:nvPr>
        </p:nvSpPr>
        <p:spPr>
          <a:xfrm>
            <a:off x="54864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71628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71628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1628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71628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3810000" y="1066800"/>
            <a:ext cx="1417608" cy="365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0625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/>
              </a:gs>
              <a:gs pos="99000">
                <a:srgbClr val="F1B434"/>
              </a:gs>
            </a:gsLst>
            <a:lin ang="0" scaled="1"/>
          </a:gradFill>
        </p:spPr>
        <p:txBody>
          <a:bodyPr lIns="457200" tIns="685800" rIns="2286000" bIns="31089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4118833"/>
            <a:ext cx="3962400" cy="51206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553200" y="6224016"/>
            <a:ext cx="2286000" cy="329184"/>
          </a:xfrm>
        </p:spPr>
        <p:txBody>
          <a:bodyPr>
            <a:noAutofit/>
          </a:bodyPr>
          <a:lstStyle>
            <a:lvl1pPr marL="0" indent="0">
              <a:buNone/>
              <a:defRPr sz="13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Euromonitor Logo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60385" y="4732553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884137"/>
            <a:ext cx="914400" cy="82296"/>
          </a:xfr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6" name="Picture Placeholder 5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457200" y="4732553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23" hasCustomPrompt="1"/>
          </p:nvPr>
        </p:nvSpPr>
        <p:spPr>
          <a:xfrm>
            <a:off x="860385" y="5033231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57200" y="5033231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860385" y="5327160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2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457200" y="5327160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860385" y="5621888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457200" y="5621888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4724400" y="4119563"/>
            <a:ext cx="3962400" cy="511175"/>
          </a:xfrm>
        </p:spPr>
        <p:txBody>
          <a:bodyPr anchor="ctr">
            <a:noAutofit/>
          </a:bodyPr>
          <a:lstStyle>
            <a:lvl1pPr>
              <a:def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30" hasCustomPrompt="1"/>
          </p:nvPr>
        </p:nvSpPr>
        <p:spPr>
          <a:xfrm>
            <a:off x="5127585" y="4732553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27" name="Picture Placeholder 5"/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4724400" y="4732553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32" hasCustomPrompt="1"/>
          </p:nvPr>
        </p:nvSpPr>
        <p:spPr>
          <a:xfrm>
            <a:off x="5127585" y="5033231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5" name="Picture Placeholder 5"/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4724400" y="5033231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34" hasCustomPrompt="1"/>
          </p:nvPr>
        </p:nvSpPr>
        <p:spPr>
          <a:xfrm>
            <a:off x="5127585" y="5327160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7" name="Picture Placeholder 5"/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724400" y="5327160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36" hasCustomPrompt="1"/>
          </p:nvPr>
        </p:nvSpPr>
        <p:spPr>
          <a:xfrm>
            <a:off x="5127585" y="5621888"/>
            <a:ext cx="3559214" cy="296648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9" name="Picture Placeholder 5"/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4724400" y="5621888"/>
            <a:ext cx="294271" cy="292608"/>
          </a:xfrm>
          <a:noFill/>
        </p:spPr>
        <p:txBody>
          <a:bodyPr>
            <a:noAutofit/>
          </a:bodyPr>
          <a:lstStyle>
            <a:lvl1pPr marL="0" indent="0">
              <a:buNone/>
              <a:defRPr sz="600">
                <a:latin typeface="+mj-lt"/>
              </a:defRPr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031040555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>
                  <a:alpha val="85000"/>
                </a:srgbClr>
              </a:gs>
              <a:gs pos="100000">
                <a:srgbClr val="F1B434">
                  <a:alpha val="85000"/>
                </a:srgbClr>
              </a:gs>
            </a:gsLst>
            <a:lin ang="0" scaled="1"/>
          </a:gradFill>
        </p:spPr>
        <p:txBody>
          <a:bodyPr lIns="457200" tIns="685800" rIns="2286000" bIns="31089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txBody>
          <a:bodyPr lIns="1828800" tIns="1828800" rIns="1828800" bIns="3657600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insert an image, change to Black and White then right click image and “SEND TO BACK”</a:t>
            </a:r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4267199"/>
            <a:ext cx="3962400" cy="165561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</a:p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 err="1"/>
              <a:t>email@emailaddress.com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553200" y="6224016"/>
            <a:ext cx="2286000" cy="329184"/>
          </a:xfrm>
        </p:spPr>
        <p:txBody>
          <a:bodyPr>
            <a:noAutofit/>
          </a:bodyPr>
          <a:lstStyle>
            <a:lvl1pPr marL="0" indent="0">
              <a:buNone/>
              <a:defRPr sz="13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Euromonitor Logo Here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884137"/>
            <a:ext cx="914400" cy="82296"/>
          </a:xfr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738B60-DA0E-664B-B28E-4B89EA58FC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4400" y="4267200"/>
            <a:ext cx="3962400" cy="16557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</a:p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 err="1"/>
              <a:t>email@emailaddress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162463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Simp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/>
              </a:gs>
              <a:gs pos="99000">
                <a:srgbClr val="F1B434"/>
              </a:gs>
            </a:gsLst>
            <a:lin ang="0" scaled="1"/>
          </a:gradFill>
        </p:spPr>
        <p:txBody>
          <a:bodyPr lIns="457200" tIns="685800" rIns="2286000" bIns="31089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4263736"/>
            <a:ext cx="3962400" cy="165506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</a:p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 err="1"/>
              <a:t>email@emailaddress.com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553200" y="6224016"/>
            <a:ext cx="2286000" cy="329184"/>
          </a:xfrm>
        </p:spPr>
        <p:txBody>
          <a:bodyPr>
            <a:noAutofit/>
          </a:bodyPr>
          <a:lstStyle>
            <a:lvl1pPr marL="0" indent="0">
              <a:buNone/>
              <a:defRPr sz="13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lace Euromonitor Logo Here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884137"/>
            <a:ext cx="914400" cy="82296"/>
          </a:xfr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A9AC02-D06E-5540-8042-478B2219B9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4400" y="4253344"/>
            <a:ext cx="3962400" cy="16654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</a:p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 err="1"/>
              <a:t>email@emailaddress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872668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References, No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chemeClr val="accent5"/>
              </a:gs>
              <a:gs pos="99000">
                <a:schemeClr val="accent3"/>
              </a:gs>
            </a:gsLst>
            <a:lin ang="0" scaled="1"/>
          </a:gradFill>
        </p:spPr>
        <p:txBody>
          <a:bodyPr lIns="457200" tIns="685800" rIns="2286000" bIns="3108960" anchor="b" anchorCtr="0"/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884137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3" name="Rectangle 1028"/>
          <p:cNvSpPr txBox="1">
            <a:spLocks noChangeArrowheads="1"/>
          </p:cNvSpPr>
          <p:nvPr userDrawn="1"/>
        </p:nvSpPr>
        <p:spPr>
          <a:xfrm>
            <a:off x="4724400" y="4118833"/>
            <a:ext cx="3962400" cy="19897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  <a:lvl2pPr marL="466344" marR="0" indent="-28575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Char char="§"/>
              <a:tabLst/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9224" marR="0" indent="-28575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Char char="§"/>
              <a:tabLst/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2104" marR="0" indent="-28575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Char char="§"/>
              <a:tabLst/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4984" marR="0" indent="-28575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Char char="§"/>
              <a:tabLst/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defRPr/>
            </a:pP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119563"/>
            <a:ext cx="3962400" cy="1989137"/>
          </a:xfrm>
          <a:prstGeom prst="rect">
            <a:avLst/>
          </a:prstGeom>
        </p:spPr>
        <p:txBody>
          <a:bodyPr anchor="t"/>
          <a:lstStyle>
            <a:lvl1pPr>
              <a:lnSpc>
                <a:spcPts val="14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ts val="14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ts val="14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ts val="14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ts val="14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24400" y="4119563"/>
            <a:ext cx="3962400" cy="1989137"/>
          </a:xfrm>
          <a:prstGeom prst="rect">
            <a:avLst/>
          </a:prstGeom>
        </p:spPr>
        <p:txBody>
          <a:bodyPr anchor="t"/>
          <a:lstStyle>
            <a:lvl1pPr>
              <a:lnSpc>
                <a:spcPts val="14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ts val="14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ts val="14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ts val="14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ts val="14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553200" y="6227064"/>
            <a:ext cx="2286000" cy="32918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600"/>
              </a:spcAft>
              <a:buClrTx/>
              <a:buSzPct val="100000"/>
              <a:buFont typeface="Wingdings" charset="2"/>
              <a:buNone/>
              <a:tabLst/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EMI Logo Her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738332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ebinar -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chemeClr val="accent5"/>
              </a:gs>
              <a:gs pos="99000">
                <a:schemeClr val="accent3"/>
              </a:gs>
            </a:gsLst>
            <a:lin ang="0" scaled="1"/>
          </a:gradFill>
        </p:spPr>
        <p:txBody>
          <a:bodyPr lIns="457200" tIns="685800" rIns="2286000" bIns="4389120" anchor="b" anchorCtr="0"/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61735" y="2888815"/>
            <a:ext cx="3410712" cy="64008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161736" y="3536505"/>
            <a:ext cx="34102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2617564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23" hasCustomPrompt="1"/>
          </p:nvPr>
        </p:nvSpPr>
        <p:spPr>
          <a:xfrm>
            <a:off x="5023935" y="2888815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729665" y="2888815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5023935" y="3210640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2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4729665" y="3214680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5023935" y="3536505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3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4729665" y="3540545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57200" y="2888815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Profile Picture</a:t>
            </a:r>
          </a:p>
        </p:txBody>
      </p:sp>
      <p:sp>
        <p:nvSpPr>
          <p:cNvPr id="99" name="Picture Placeholder 3"/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57200" y="4010525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Profile Picture</a:t>
            </a:r>
          </a:p>
        </p:txBody>
      </p:sp>
      <p:sp>
        <p:nvSpPr>
          <p:cNvPr id="96" name="Text Placeholder 95"/>
          <p:cNvSpPr>
            <a:spLocks noGrp="1"/>
          </p:cNvSpPr>
          <p:nvPr>
            <p:ph type="body" sz="quarter" idx="31" hasCustomPrompt="1"/>
          </p:nvPr>
        </p:nvSpPr>
        <p:spPr>
          <a:xfrm>
            <a:off x="1161736" y="4010525"/>
            <a:ext cx="3409950" cy="63658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  <a:endParaRPr lang="en-GB" dirty="0"/>
          </a:p>
        </p:txBody>
      </p:sp>
      <p:sp>
        <p:nvSpPr>
          <p:cNvPr id="102" name="Text Placeholder 9"/>
          <p:cNvSpPr>
            <a:spLocks noGrp="1"/>
          </p:cNvSpPr>
          <p:nvPr>
            <p:ph type="body" sz="quarter" idx="32" hasCustomPrompt="1"/>
          </p:nvPr>
        </p:nvSpPr>
        <p:spPr>
          <a:xfrm>
            <a:off x="1161736" y="4657162"/>
            <a:ext cx="34102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103" name="Text Placeholder 9"/>
          <p:cNvSpPr>
            <a:spLocks noGrp="1"/>
          </p:cNvSpPr>
          <p:nvPr>
            <p:ph type="body" sz="quarter" idx="33" hasCustomPrompt="1"/>
          </p:nvPr>
        </p:nvSpPr>
        <p:spPr>
          <a:xfrm>
            <a:off x="5023935" y="4010525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104" name="Picture Placeholder 5"/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729665" y="4010525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05" name="Text Placeholder 9"/>
          <p:cNvSpPr>
            <a:spLocks noGrp="1"/>
          </p:cNvSpPr>
          <p:nvPr>
            <p:ph type="body" sz="quarter" idx="35" hasCustomPrompt="1"/>
          </p:nvPr>
        </p:nvSpPr>
        <p:spPr>
          <a:xfrm>
            <a:off x="5023935" y="4332834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106" name="Picture Placeholder 5"/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729665" y="4336874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09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023935" y="4657162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110" name="Picture Placeholder 5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29665" y="4661202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11" name="Picture Placeholder 3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57200" y="5139200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Profile Picture</a:t>
            </a:r>
          </a:p>
        </p:txBody>
      </p:sp>
      <p:sp>
        <p:nvSpPr>
          <p:cNvPr id="112" name="Text Placeholder 95"/>
          <p:cNvSpPr>
            <a:spLocks noGrp="1"/>
          </p:cNvSpPr>
          <p:nvPr>
            <p:ph type="body" sz="quarter" idx="40" hasCustomPrompt="1"/>
          </p:nvPr>
        </p:nvSpPr>
        <p:spPr>
          <a:xfrm>
            <a:off x="1161736" y="5139200"/>
            <a:ext cx="3409950" cy="63658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  <a:endParaRPr lang="en-GB" dirty="0"/>
          </a:p>
        </p:txBody>
      </p:sp>
      <p:sp>
        <p:nvSpPr>
          <p:cNvPr id="113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1161736" y="5785837"/>
            <a:ext cx="34102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114" name="Text Placeholder 9"/>
          <p:cNvSpPr>
            <a:spLocks noGrp="1"/>
          </p:cNvSpPr>
          <p:nvPr>
            <p:ph type="body" sz="quarter" idx="42" hasCustomPrompt="1"/>
          </p:nvPr>
        </p:nvSpPr>
        <p:spPr>
          <a:xfrm>
            <a:off x="5023935" y="5139200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115" name="Picture Placeholder 5"/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4729665" y="5139200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16" name="Text Placeholder 9"/>
          <p:cNvSpPr>
            <a:spLocks noGrp="1"/>
          </p:cNvSpPr>
          <p:nvPr>
            <p:ph type="body" sz="quarter" idx="44" hasCustomPrompt="1"/>
          </p:nvPr>
        </p:nvSpPr>
        <p:spPr>
          <a:xfrm>
            <a:off x="5023935" y="5461509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117" name="Picture Placeholder 5"/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4729665" y="5465549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18" name="Text Placeholder 9"/>
          <p:cNvSpPr>
            <a:spLocks noGrp="1"/>
          </p:cNvSpPr>
          <p:nvPr>
            <p:ph type="body" sz="quarter" idx="46" hasCustomPrompt="1"/>
          </p:nvPr>
        </p:nvSpPr>
        <p:spPr>
          <a:xfrm>
            <a:off x="5023935" y="5785837"/>
            <a:ext cx="3668129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cial Media</a:t>
            </a:r>
          </a:p>
        </p:txBody>
      </p:sp>
      <p:sp>
        <p:nvSpPr>
          <p:cNvPr id="119" name="Picture Placeholder 5"/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4729665" y="5789877"/>
            <a:ext cx="294271" cy="292608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48" hasCustomPrompt="1"/>
          </p:nvPr>
        </p:nvSpPr>
        <p:spPr>
          <a:xfrm>
            <a:off x="6553200" y="6227064"/>
            <a:ext cx="2286000" cy="3291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276379204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ebinar -  4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chemeClr val="accent5"/>
              </a:gs>
              <a:gs pos="99000">
                <a:schemeClr val="accent3"/>
              </a:gs>
            </a:gsLst>
            <a:lin ang="0" scaled="1"/>
          </a:gradFill>
        </p:spPr>
        <p:txBody>
          <a:bodyPr lIns="457200" tIns="685800" rIns="2286000" bIns="3566160" anchor="b" anchorCtr="0"/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61735" y="3624051"/>
            <a:ext cx="3257865" cy="64008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161737" y="4271741"/>
            <a:ext cx="32578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352800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57200" y="3624051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Profile Picture</a:t>
            </a:r>
          </a:p>
        </p:txBody>
      </p:sp>
      <p:sp>
        <p:nvSpPr>
          <p:cNvPr id="99" name="Picture Placeholder 3"/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57200" y="4882692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Profile Picture</a:t>
            </a:r>
          </a:p>
        </p:txBody>
      </p:sp>
      <p:sp>
        <p:nvSpPr>
          <p:cNvPr id="96" name="Text Placeholder 95"/>
          <p:cNvSpPr>
            <a:spLocks noGrp="1"/>
          </p:cNvSpPr>
          <p:nvPr>
            <p:ph type="body" sz="quarter" idx="31" hasCustomPrompt="1"/>
          </p:nvPr>
        </p:nvSpPr>
        <p:spPr>
          <a:xfrm>
            <a:off x="1161736" y="4882692"/>
            <a:ext cx="3257864" cy="63658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  <a:endParaRPr lang="en-GB" dirty="0"/>
          </a:p>
        </p:txBody>
      </p:sp>
      <p:sp>
        <p:nvSpPr>
          <p:cNvPr id="102" name="Text Placeholder 9"/>
          <p:cNvSpPr>
            <a:spLocks noGrp="1"/>
          </p:cNvSpPr>
          <p:nvPr>
            <p:ph type="body" sz="quarter" idx="32" hasCustomPrompt="1"/>
          </p:nvPr>
        </p:nvSpPr>
        <p:spPr>
          <a:xfrm>
            <a:off x="1161737" y="5529329"/>
            <a:ext cx="3257864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111" name="Picture Placeholder 3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724401" y="3625104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Profile Picture</a:t>
            </a:r>
          </a:p>
        </p:txBody>
      </p:sp>
      <p:sp>
        <p:nvSpPr>
          <p:cNvPr id="112" name="Text Placeholder 95"/>
          <p:cNvSpPr>
            <a:spLocks noGrp="1"/>
          </p:cNvSpPr>
          <p:nvPr>
            <p:ph type="body" sz="quarter" idx="40" hasCustomPrompt="1"/>
          </p:nvPr>
        </p:nvSpPr>
        <p:spPr>
          <a:xfrm>
            <a:off x="5428937" y="3625104"/>
            <a:ext cx="3257863" cy="63658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600"/>
              </a:spcAft>
              <a:buClrTx/>
              <a:buSzPct val="100000"/>
              <a:buFont typeface="Wingdings" charset="2"/>
              <a:buNone/>
              <a:tabLst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600"/>
              </a:spcAft>
              <a:buClrTx/>
              <a:buSzPct val="100000"/>
              <a:buFont typeface="Wingdings" charset="2"/>
              <a:buNone/>
              <a:tabLst/>
              <a:defRPr/>
            </a:pPr>
            <a:r>
              <a:rPr lang="en-US" dirty="0"/>
              <a:t>Name, Title</a:t>
            </a:r>
            <a:endParaRPr lang="en-GB" dirty="0"/>
          </a:p>
        </p:txBody>
      </p:sp>
      <p:sp>
        <p:nvSpPr>
          <p:cNvPr id="113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5428937" y="4271741"/>
            <a:ext cx="32578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35" name="Picture Placeholder 3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4724401" y="4882692"/>
            <a:ext cx="636588" cy="636588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Profile Picture</a:t>
            </a:r>
          </a:p>
        </p:txBody>
      </p:sp>
      <p:sp>
        <p:nvSpPr>
          <p:cNvPr id="36" name="Text Placeholder 95"/>
          <p:cNvSpPr>
            <a:spLocks noGrp="1"/>
          </p:cNvSpPr>
          <p:nvPr>
            <p:ph type="body" sz="quarter" idx="43" hasCustomPrompt="1"/>
          </p:nvPr>
        </p:nvSpPr>
        <p:spPr>
          <a:xfrm>
            <a:off x="5428937" y="4882692"/>
            <a:ext cx="3257863" cy="63658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None/>
              <a:defRPr>
                <a:solidFill>
                  <a:schemeClr val="bg1"/>
                </a:solidFill>
              </a:defRPr>
            </a:lvl3pPr>
            <a:lvl4pPr marL="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 dirty="0"/>
              <a:t>Name, Title</a:t>
            </a:r>
            <a:endParaRPr lang="en-GB" dirty="0"/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44" hasCustomPrompt="1"/>
          </p:nvPr>
        </p:nvSpPr>
        <p:spPr>
          <a:xfrm>
            <a:off x="5428937" y="5529329"/>
            <a:ext cx="3257863" cy="29664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 baseline="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45" hasCustomPrompt="1"/>
          </p:nvPr>
        </p:nvSpPr>
        <p:spPr>
          <a:xfrm>
            <a:off x="6553200" y="6227064"/>
            <a:ext cx="2286000" cy="3291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396292173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B930BFC-B5E8-1A46-9415-31AF97980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1523D8-01C6-5246-8662-43E272CBD7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defRPr/>
            </a:pPr>
            <a:r>
              <a:rPr lang="en-US" sz="900" dirty="0">
                <a:solidFill>
                  <a:srgbClr val="595959">
                    <a:lumMod val="40000"/>
                    <a:lumOff val="60000"/>
                  </a:srgbClr>
                </a:solidFill>
                <a:latin typeface="Calibri" panose="020F0502020204030204"/>
                <a:cs typeface="Arial" charset="0"/>
              </a:rPr>
              <a:t>© Euromonitor International 2019. All rights reserved. This document is confidential and for internal use by [CLIENT] and its affiliates only.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7739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100" b="0" i="0">
                <a:solidFill>
                  <a:srgbClr val="414141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rgbClr val="31607A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1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30764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Callout, 2 Col -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2286000"/>
          </a:xfrm>
          <a:solidFill>
            <a:schemeClr val="accent1"/>
          </a:solidFill>
        </p:spPr>
        <p:txBody>
          <a:bodyPr lIns="1965960" tIns="365760" rIns="1965960" bIns="365760"/>
          <a:lstStyle>
            <a:lvl1pPr>
              <a:lnSpc>
                <a:spcPts val="36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/>
          <a:p>
            <a:fld id="{5F8EC74F-F43D-B546-84DB-988CF7340E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20"/>
          </p:nvPr>
        </p:nvSpPr>
        <p:spPr>
          <a:xfrm>
            <a:off x="457200" y="2788920"/>
            <a:ext cx="3962400" cy="3611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21"/>
          </p:nvPr>
        </p:nvSpPr>
        <p:spPr>
          <a:xfrm>
            <a:off x="4724400" y="2788920"/>
            <a:ext cx="3962400" cy="3611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>
              <a:defRPr/>
            </a:pPr>
            <a:r>
              <a:rPr lang="en-US">
                <a:ea typeface="Cambria" charset="0"/>
                <a:cs typeface="Cambria" charset="0"/>
              </a:rPr>
              <a:t>© </a:t>
            </a:r>
            <a:r>
              <a:rPr lang="en-US" kern="0">
                <a:ea typeface="Cambria" charset="0"/>
                <a:cs typeface="Cambria" charset="0"/>
              </a:rPr>
              <a:t>Euromonitor</a:t>
            </a:r>
            <a:r>
              <a:rPr lang="en-US">
                <a:ea typeface="Cambria" charset="0"/>
                <a:cs typeface="Cambria" charset="0"/>
              </a:rPr>
              <a:t> International</a:t>
            </a:r>
            <a:endParaRPr lang="en-US" dirty="0">
              <a:ea typeface="Cambria" charset="0"/>
              <a:cs typeface="Cambria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E1B436-2E6C-504B-B4D4-6F63129A70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5706" y="6548868"/>
            <a:ext cx="1088145" cy="15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602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lay - Sla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144000" cy="6858000"/>
          </a:xfrm>
          <a:solidFill>
            <a:schemeClr val="accent1">
              <a:alpha val="80000"/>
            </a:schemeClr>
          </a:solidFill>
        </p:spPr>
        <p:txBody>
          <a:bodyPr lIns="457200" tIns="365760" rIns="548640" bIns="5394960" anchor="t" anchorCtr="0">
            <a:noAutofit/>
          </a:bodyPr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6857999"/>
          </a:xfrm>
          <a:prstGeom prst="rect">
            <a:avLst/>
          </a:prstGeom>
        </p:spPr>
        <p:txBody>
          <a:bodyPr lIns="1828800" tIns="1828800" rIns="1828800" bIns="640080" anchor="ctr"/>
          <a:lstStyle>
            <a:lvl1pPr marL="0" indent="0" algn="ctr">
              <a:lnSpc>
                <a:spcPct val="10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0"/>
            <a:ext cx="457200" cy="304800"/>
          </a:xfrm>
          <a:prstGeom prst="rect">
            <a:avLst/>
          </a:prstGeom>
          <a:noFill/>
        </p:spPr>
        <p:txBody>
          <a:bodyPr vert="horz" lIns="0" tIns="0" rIns="155448" bIns="0" rtlCol="0" anchor="ctr">
            <a:noAutofit/>
          </a:bodyPr>
          <a:lstStyle>
            <a:lvl1pPr algn="r">
              <a:defRPr sz="9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fld id="{5F8EC74F-F43D-B546-84DB-988CF7340E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D20EB97C-AC02-B546-A7D4-2AFFFF50000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36817205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C Overview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0" y="0"/>
            <a:ext cx="4572000" cy="6858000"/>
          </a:xfrm>
          <a:prstGeom prst="rect">
            <a:avLst/>
          </a:prstGeom>
          <a:gradFill>
            <a:gsLst>
              <a:gs pos="5000">
                <a:srgbClr val="FF6A13">
                  <a:alpha val="80000"/>
                </a:srgbClr>
              </a:gs>
              <a:gs pos="100000">
                <a:srgbClr val="F1B434">
                  <a:alpha val="80000"/>
                </a:srgbClr>
              </a:gs>
            </a:gsLst>
            <a:lin ang="0" scaled="1"/>
          </a:gradFill>
        </p:spPr>
        <p:txBody>
          <a:bodyPr anchor="b">
            <a:noAutofit/>
          </a:bodyPr>
          <a:lstStyle>
            <a:lvl1pPr marL="0" indent="0">
              <a:buNone/>
              <a:defRPr sz="600" baseline="0"/>
            </a:lvl1pPr>
            <a:lvl2pPr marL="0" indent="0">
              <a:buNone/>
              <a:defRPr sz="600"/>
            </a:lvl2pPr>
            <a:lvl3pPr marL="0" indent="0">
              <a:buNone/>
              <a:defRPr sz="600"/>
            </a:lvl3pPr>
            <a:lvl4pPr marL="0" indent="0">
              <a:buNone/>
              <a:defRPr sz="600"/>
            </a:lvl4pPr>
            <a:lvl5pPr marL="0" indent="0">
              <a:buNone/>
              <a:defRPr sz="600"/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0"/>
            <a:ext cx="4572000" cy="6858000"/>
          </a:xfrm>
          <a:prstGeom prst="rect">
            <a:avLst/>
          </a:prstGeom>
          <a:noFill/>
        </p:spPr>
        <p:txBody>
          <a:bodyPr lIns="365760" tIns="548640" rIns="82296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insert an image, change to Black and White then right click image and “SEND TO BACK”</a:t>
            </a:r>
          </a:p>
          <a:p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304800" y="457200"/>
            <a:ext cx="4114800" cy="6096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04800" y="1219200"/>
            <a:ext cx="949569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" y="1524000"/>
            <a:ext cx="4114800" cy="487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4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52400" y="6589801"/>
            <a:ext cx="2830613" cy="152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r>
              <a:rPr lang="en-US" sz="800" dirty="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© </a:t>
            </a:r>
            <a:r>
              <a:rPr lang="en-US" sz="800" kern="0" dirty="0" err="1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Euromonitor</a:t>
            </a:r>
            <a:r>
              <a:rPr lang="en-US" sz="800" dirty="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8499764" y="0"/>
            <a:ext cx="644236" cy="304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r"/>
            <a:fld id="{5F8EC74F-F43D-B546-84DB-988CF7340E3A}" type="slidenum">
              <a:rPr lang="en-US" sz="900" smtClean="0"/>
              <a:pPr algn="r"/>
              <a:t>‹#›</a:t>
            </a:fld>
            <a:endParaRPr lang="en-US" sz="900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3527AB1-7220-484B-B5DE-54ED3745EF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383343177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lay - Slate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144000" cy="6858000"/>
          </a:xfrm>
          <a:solidFill>
            <a:schemeClr val="accent1"/>
          </a:solidFill>
        </p:spPr>
        <p:txBody>
          <a:bodyPr lIns="457200" tIns="365760" rIns="548640" bIns="5394960" anchor="t" anchorCtr="0">
            <a:noAutofit/>
          </a:bodyPr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0"/>
            <a:ext cx="457200" cy="304800"/>
          </a:xfrm>
          <a:prstGeom prst="rect">
            <a:avLst/>
          </a:prstGeom>
          <a:noFill/>
        </p:spPr>
        <p:txBody>
          <a:bodyPr vert="horz" lIns="0" tIns="0" rIns="155448" bIns="0" rtlCol="0" anchor="ctr">
            <a:noAutofit/>
          </a:bodyPr>
          <a:lstStyle>
            <a:lvl1pPr algn="r">
              <a:defRPr sz="9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fld id="{5F8EC74F-F43D-B546-84DB-988CF7340E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7799C74-B8DF-DE45-A839-4C1A87D18F4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6627562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lay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144000" cy="6858000"/>
          </a:xfrm>
          <a:solidFill>
            <a:schemeClr val="tx1">
              <a:alpha val="80000"/>
            </a:schemeClr>
          </a:solidFill>
        </p:spPr>
        <p:txBody>
          <a:bodyPr lIns="457200" tIns="365760" rIns="548640" bIns="5394960" anchor="t" anchorCtr="0">
            <a:noAutofit/>
          </a:bodyPr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6857999"/>
          </a:xfrm>
          <a:prstGeom prst="rect">
            <a:avLst/>
          </a:prstGeom>
        </p:spPr>
        <p:txBody>
          <a:bodyPr lIns="1828800" tIns="1828800" rIns="1828800" bIns="640080" anchor="ctr"/>
          <a:lstStyle>
            <a:lvl1pPr marL="0" indent="0" algn="ctr">
              <a:lnSpc>
                <a:spcPct val="10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/>
          <a:p>
            <a:fld id="{FCE259AE-6FA2-DE49-8C03-2AB7F423A37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F48FB12-43A4-D44C-9FD7-79CCF7C6737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12833710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lay - Charcoal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144000" cy="6858000"/>
          </a:xfrm>
          <a:solidFill>
            <a:schemeClr val="tx1"/>
          </a:solidFill>
        </p:spPr>
        <p:txBody>
          <a:bodyPr lIns="457200" tIns="365760" rIns="548640" bIns="5394960" anchor="t" anchorCtr="0">
            <a:noAutofit/>
          </a:bodyPr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/>
          <a:p>
            <a:fld id="{FCE259AE-6FA2-DE49-8C03-2AB7F423A37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D7F2FAFF-7B6F-0D4C-A9EC-C2DDE0F024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4133019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lay w Accent -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1"/>
            <a:ext cx="9144000" cy="6857999"/>
          </a:xfrm>
          <a:solidFill>
            <a:schemeClr val="accent1">
              <a:alpha val="80000"/>
            </a:schemeClr>
          </a:solidFill>
        </p:spPr>
        <p:txBody>
          <a:bodyPr lIns="457200" tIns="365760" rIns="548640" bIns="5486400" anchor="t" anchorCtr="0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6857999"/>
          </a:xfrm>
          <a:prstGeom prst="rect">
            <a:avLst/>
          </a:prstGeom>
        </p:spPr>
        <p:txBody>
          <a:bodyPr lIns="1828800" tIns="1828800" rIns="1828800" bIns="640080" anchor="ctr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0" y="5202936"/>
            <a:ext cx="7239000" cy="1017587"/>
          </a:xfrm>
          <a:solidFill>
            <a:schemeClr val="tx1"/>
          </a:solidFill>
        </p:spPr>
        <p:txBody>
          <a:bodyPr lIns="493776" tIns="365760" rIns="365760" bIns="365760" anchor="ctr"/>
          <a:lstStyle>
            <a:lvl2pPr>
              <a:defRPr lang="en-US" sz="21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00FFA2CA-8111-B444-BBC9-8141E8B30D9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10035014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lay w Accent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6857999"/>
          </a:xfrm>
          <a:prstGeom prst="rect">
            <a:avLst/>
          </a:prstGeom>
        </p:spPr>
        <p:txBody>
          <a:bodyPr lIns="1828800" tIns="1828800" rIns="1828800" bIns="640080" anchor="ctr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144000" cy="6857999"/>
          </a:xfrm>
          <a:solidFill>
            <a:schemeClr val="tx1">
              <a:alpha val="80000"/>
            </a:schemeClr>
          </a:solidFill>
        </p:spPr>
        <p:txBody>
          <a:bodyPr lIns="457200" tIns="365760" rIns="548640" bIns="5486400" anchor="t" anchorCtr="0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0" y="5202936"/>
            <a:ext cx="7239000" cy="1017587"/>
          </a:xfrm>
          <a:solidFill>
            <a:schemeClr val="accent5"/>
          </a:solidFill>
        </p:spPr>
        <p:txBody>
          <a:bodyPr lIns="493776" tIns="365760" bIns="365760" anchor="ctr"/>
          <a:lstStyle>
            <a:lvl2pPr>
              <a:defRPr lang="en-US" sz="21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1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8C805FC7-FAB4-5B43-8D1A-C9B1B61CD9A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39247131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lay w Accen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144000" cy="6857999"/>
          </a:xfrm>
          <a:solidFill>
            <a:schemeClr val="accent5">
              <a:alpha val="80000"/>
            </a:schemeClr>
          </a:solidFill>
        </p:spPr>
        <p:txBody>
          <a:bodyPr lIns="457200" tIns="365760" rIns="548640" bIns="5486400" anchor="t" anchorCtr="0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</a:t>
            </a:r>
            <a:br>
              <a:rPr lang="en-US" dirty="0"/>
            </a:b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9144000" cy="6857999"/>
          </a:xfrm>
          <a:prstGeom prst="rect">
            <a:avLst/>
          </a:prstGeom>
        </p:spPr>
        <p:txBody>
          <a:bodyPr lIns="1828800" tIns="1828800" rIns="1828800" bIns="640080" anchor="ctr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0" y="5202936"/>
            <a:ext cx="7239000" cy="1017587"/>
          </a:xfrm>
          <a:solidFill>
            <a:schemeClr val="tx1"/>
          </a:solidFill>
        </p:spPr>
        <p:txBody>
          <a:bodyPr lIns="493776" tIns="365760" bIns="365760" anchor="ctr"/>
          <a:lstStyle>
            <a:lvl2pPr>
              <a:defRPr lang="en-US" sz="21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>
                <a:ea typeface="Cambria" charset="0"/>
                <a:cs typeface="Cambria" charset="0"/>
              </a:rPr>
              <a:t>© </a:t>
            </a:r>
            <a:r>
              <a:rPr lang="en-US" kern="0">
                <a:ea typeface="Cambria" charset="0"/>
                <a:cs typeface="Cambria" charset="0"/>
              </a:rPr>
              <a:t>Euromonitor</a:t>
            </a:r>
            <a:r>
              <a:rPr lang="en-US">
                <a:ea typeface="Cambria" charset="0"/>
                <a:cs typeface="Cambria" charset="0"/>
              </a:rPr>
              <a:t> International</a:t>
            </a:r>
            <a:endParaRPr lang="en-US" dirty="0">
              <a:ea typeface="Cambria" charset="0"/>
              <a:cs typeface="Cambria" charset="0"/>
            </a:endParaRP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0AC1A893-EC61-2744-B354-6D13DF7692F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6478843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lay Text Left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lIns="457200" tIns="731520" rIns="4572000" bIns="3566160" anchor="b" anchorCtr="0"/>
          <a:lstStyle>
            <a:lvl1pPr algn="l">
              <a:lnSpc>
                <a:spcPts val="3600"/>
              </a:lnSpc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6096"/>
            <a:ext cx="9144000" cy="6858000"/>
          </a:xfrm>
          <a:prstGeom prst="rect">
            <a:avLst/>
          </a:prstGeom>
          <a:noFill/>
        </p:spPr>
        <p:txBody>
          <a:bodyPr lIns="1828800" tIns="4937760" rIns="1828800" bIns="3657600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3352800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/>
          <a:p>
            <a:fld id="{5F8EC74F-F43D-B546-84DB-988CF7340E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457200" y="3602736"/>
            <a:ext cx="3962400" cy="15361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1AA010-B092-7843-ADD0-EF55BB18949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834815526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lay 3 Facts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lIns="457200" tIns="640080" rIns="457200" bIns="3566160" anchor="t" anchorCtr="0"/>
          <a:lstStyle>
            <a:lvl1pPr algn="ctr">
              <a:lnSpc>
                <a:spcPts val="3600"/>
              </a:lnSpc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txBody>
          <a:bodyPr lIns="1828800" tIns="2743200" rIns="1828800" bIns="3657600" anchor="b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114800" y="1219200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3362229"/>
            <a:ext cx="2743200" cy="609600"/>
          </a:xfrm>
          <a:prstGeom prst="rect">
            <a:avLst/>
          </a:prstGeom>
        </p:spPr>
        <p:txBody>
          <a:bodyPr anchor="t"/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1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/>
          <a:p>
            <a:fld id="{5F8EC74F-F43D-B546-84DB-988CF7340E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04800" y="3971829"/>
            <a:ext cx="2743200" cy="10938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200400" y="3362229"/>
            <a:ext cx="2743200" cy="609600"/>
          </a:xfrm>
          <a:prstGeom prst="rect">
            <a:avLst/>
          </a:prstGeom>
        </p:spPr>
        <p:txBody>
          <a:bodyPr anchor="t"/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2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200400" y="3971829"/>
            <a:ext cx="2743200" cy="10938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096000" y="3362229"/>
            <a:ext cx="2743200" cy="609600"/>
          </a:xfrm>
          <a:prstGeom prst="rect">
            <a:avLst/>
          </a:prstGeom>
        </p:spPr>
        <p:txBody>
          <a:bodyPr anchor="t"/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3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6096000" y="3971829"/>
            <a:ext cx="2743200" cy="10938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4DE3B8E-AE8D-4541-9BB9-E3191BA8708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67631128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Overlay -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5943600" cy="6858000"/>
          </a:xfrm>
          <a:solidFill>
            <a:schemeClr val="accent1">
              <a:alpha val="80000"/>
            </a:schemeClr>
          </a:solidFill>
        </p:spPr>
        <p:txBody>
          <a:bodyPr lIns="484632" tIns="4983480" rIns="594360" bIns="182880" anchor="ctr" anchorCtr="0">
            <a:noAutofit/>
          </a:bodyPr>
          <a:lstStyle>
            <a:lvl2pPr>
              <a:defRPr sz="2100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4876800" cy="4419600"/>
          </a:xfrm>
          <a:prstGeom prst="rect">
            <a:avLst/>
          </a:prstGeom>
          <a:noFill/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1828800" tIns="1828800" rIns="1828800" bIns="640080" anchor="ctr"/>
          <a:lstStyle>
            <a:lvl1pPr marL="0" indent="0" algn="ctr">
              <a:lnSpc>
                <a:spcPts val="21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355D2B1-4248-F84F-B788-5CE9237172A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6352791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Overlay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5943600" cy="6858000"/>
          </a:xfrm>
          <a:solidFill>
            <a:schemeClr val="tx1">
              <a:alpha val="80000"/>
            </a:schemeClr>
          </a:solidFill>
        </p:spPr>
        <p:txBody>
          <a:bodyPr lIns="484632" tIns="4983480" rIns="594360" bIns="182880" anchor="ctr" anchorCtr="0">
            <a:noAutofit/>
          </a:bodyPr>
          <a:lstStyle>
            <a:lvl2pPr>
              <a:defRPr sz="2100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4876800" cy="4419600"/>
          </a:xfrm>
          <a:prstGeom prst="rect">
            <a:avLst/>
          </a:prstGeom>
          <a:noFill/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1828800" tIns="1828800" rIns="1828800" bIns="640080" anchor="ctr"/>
          <a:lstStyle>
            <a:lvl1pPr marL="0" indent="0" algn="ctr">
              <a:lnSpc>
                <a:spcPts val="21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AD32D3E7-3ED9-4F4B-BA7A-EA06CA652C5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5145739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C Overview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04800" y="457200"/>
            <a:ext cx="4114800" cy="6096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04800" y="1219200"/>
            <a:ext cx="949569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" y="1524000"/>
            <a:ext cx="4114800" cy="487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400"/>
              </a:spcBef>
              <a:spcAft>
                <a:spcPts val="1000"/>
              </a:spcAft>
              <a:buNone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-1620982" y="1676400"/>
            <a:ext cx="1340427" cy="121573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Use this layout for more then 5 sections without imag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0" y="0"/>
            <a:ext cx="4572000" cy="6858000"/>
          </a:xfrm>
          <a:prstGeom prst="rect">
            <a:avLst/>
          </a:prstGeom>
          <a:gradFill>
            <a:gsLst>
              <a:gs pos="5000">
                <a:srgbClr val="FF6A13"/>
              </a:gs>
              <a:gs pos="100000">
                <a:srgbClr val="F1B434"/>
              </a:gs>
            </a:gsLst>
            <a:lin ang="0" scaled="1"/>
          </a:gradFill>
        </p:spPr>
        <p:txBody>
          <a:bodyPr anchor="b">
            <a:noAutofit/>
          </a:bodyPr>
          <a:lstStyle>
            <a:lvl1pPr marL="0" indent="0">
              <a:buNone/>
              <a:defRPr sz="600" baseline="0"/>
            </a:lvl1pPr>
            <a:lvl2pPr marL="0" indent="0">
              <a:buNone/>
              <a:defRPr sz="600"/>
            </a:lvl2pPr>
            <a:lvl3pPr marL="0" indent="0">
              <a:buNone/>
              <a:defRPr sz="600"/>
            </a:lvl3pPr>
            <a:lvl4pPr marL="0" indent="0">
              <a:buNone/>
              <a:defRPr sz="600"/>
            </a:lvl4pPr>
            <a:lvl5pPr marL="0" indent="0">
              <a:buNone/>
              <a:defRPr sz="600"/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52400" y="6589801"/>
            <a:ext cx="2830613" cy="152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r>
              <a:rPr lang="en-US" sz="800" dirty="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© </a:t>
            </a:r>
            <a:r>
              <a:rPr lang="en-US" sz="800" kern="0" dirty="0" err="1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Euromonitor</a:t>
            </a:r>
            <a:r>
              <a:rPr lang="en-US" sz="800" dirty="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8499764" y="0"/>
            <a:ext cx="644236" cy="304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r"/>
            <a:fld id="{5F8EC74F-F43D-B546-84DB-988CF7340E3A}" type="slidenum">
              <a:rPr lang="en-US" sz="900" smtClean="0"/>
              <a:pPr algn="r"/>
              <a:t>‹#›</a:t>
            </a:fld>
            <a:endParaRPr lang="en-US" sz="900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D787388-244E-B34E-8ECF-5E56007C288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7195166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Overlay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5943600" cy="6858000"/>
          </a:xfrm>
          <a:solidFill>
            <a:schemeClr val="accent5">
              <a:alpha val="80000"/>
            </a:schemeClr>
          </a:solidFill>
        </p:spPr>
        <p:txBody>
          <a:bodyPr lIns="484632" tIns="4983480" rIns="594360" bIns="182880" anchor="ctr" anchorCtr="0">
            <a:noAutofit/>
          </a:bodyPr>
          <a:lstStyle>
            <a:lvl2pPr>
              <a:defRPr sz="2100">
                <a:solidFill>
                  <a:schemeClr val="bg1"/>
                </a:solidFill>
              </a:defRPr>
            </a:lvl2pPr>
          </a:lstStyle>
          <a:p>
            <a:pPr lvl="1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4876800" cy="4419600"/>
          </a:xfrm>
          <a:prstGeom prst="rect">
            <a:avLst/>
          </a:prstGeom>
          <a:noFill/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1828800" tIns="1828800" rIns="1828800" bIns="640080" anchor="ctr"/>
          <a:lstStyle>
            <a:lvl1pPr marL="0" indent="0" algn="ctr">
              <a:lnSpc>
                <a:spcPts val="21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>
                <a:ea typeface="Cambria" charset="0"/>
                <a:cs typeface="Cambria" charset="0"/>
              </a:rPr>
              <a:t>© </a:t>
            </a:r>
            <a:r>
              <a:rPr lang="en-US" kern="0">
                <a:ea typeface="Cambria" charset="0"/>
                <a:cs typeface="Cambria" charset="0"/>
              </a:rPr>
              <a:t>Euromonitor</a:t>
            </a:r>
            <a:r>
              <a:rPr lang="en-US">
                <a:ea typeface="Cambria" charset="0"/>
                <a:cs typeface="Cambria" charset="0"/>
              </a:rPr>
              <a:t> International</a:t>
            </a:r>
            <a:endParaRPr lang="en-US" dirty="0">
              <a:ea typeface="Cambria" charset="0"/>
              <a:cs typeface="Cambria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AB0025AF-3354-3747-B3A0-76A43DD7FB8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89623908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 Accen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0" y="5212080"/>
            <a:ext cx="7242048" cy="1645920"/>
          </a:xfrm>
          <a:solidFill>
            <a:schemeClr val="accent5">
              <a:alpha val="80000"/>
            </a:schemeClr>
          </a:solidFill>
        </p:spPr>
        <p:txBody>
          <a:bodyPr lIns="493776" tIns="365760" bIns="365760" anchor="ctr"/>
          <a:lstStyle>
            <a:lvl2pPr>
              <a:defRPr lang="en-US" sz="21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1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57201"/>
            <a:ext cx="4114800" cy="4572000"/>
          </a:xfrm>
          <a:noFill/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36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>
                <a:ea typeface="Cambria" charset="0"/>
                <a:cs typeface="Cambria" charset="0"/>
              </a:rPr>
              <a:t>© </a:t>
            </a:r>
            <a:r>
              <a:rPr lang="en-US" kern="0">
                <a:ea typeface="Cambria" charset="0"/>
                <a:cs typeface="Cambria" charset="0"/>
              </a:rPr>
              <a:t>Euromonitor</a:t>
            </a:r>
            <a:r>
              <a:rPr lang="en-US">
                <a:ea typeface="Cambria" charset="0"/>
                <a:cs typeface="Cambria" charset="0"/>
              </a:rPr>
              <a:t> International</a:t>
            </a:r>
            <a:endParaRPr lang="en-US" dirty="0">
              <a:ea typeface="Cambria" charset="0"/>
              <a:cs typeface="Cambria" charset="0"/>
            </a:endParaRP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7827F6C8-5C09-3D4F-9937-E5261E508F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1828800" tIns="1828800" rIns="1828800" bIns="640080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</a:p>
        </p:txBody>
      </p:sp>
    </p:spTree>
    <p:extLst>
      <p:ext uri="{BB962C8B-B14F-4D97-AF65-F5344CB8AC3E}">
        <p14:creationId xmlns:p14="http://schemas.microsoft.com/office/powerpoint/2010/main" val="5517641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 Accent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0" y="457201"/>
            <a:ext cx="4114800" cy="4572000"/>
          </a:xfrm>
          <a:noFill/>
        </p:spPr>
        <p:txBody>
          <a:bodyPr lIns="0" tIns="0" rIns="0" bIns="0" anchor="t" anchorCtr="0">
            <a:noAutofit/>
          </a:bodyPr>
          <a:lstStyle>
            <a:lvl1pPr algn="r">
              <a:lnSpc>
                <a:spcPct val="100000"/>
              </a:lnSpc>
              <a:defRPr sz="36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901952" y="5212080"/>
            <a:ext cx="7242048" cy="1645920"/>
          </a:xfrm>
          <a:solidFill>
            <a:schemeClr val="accent5">
              <a:alpha val="80000"/>
            </a:schemeClr>
          </a:solidFill>
        </p:spPr>
        <p:txBody>
          <a:bodyPr lIns="822960" tIns="365760" bIns="365760" anchor="ctr"/>
          <a:lstStyle>
            <a:lvl2pPr>
              <a:defRPr lang="en-US" sz="2100" kern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1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3122988C-AF05-9144-99DA-1C72A66DD68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1828800" tIns="1828800" rIns="1828800" bIns="640080" anchor="ctr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</a:p>
        </p:txBody>
      </p:sp>
    </p:spTree>
    <p:extLst>
      <p:ext uri="{BB962C8B-B14F-4D97-AF65-F5344CB8AC3E}">
        <p14:creationId xmlns:p14="http://schemas.microsoft.com/office/powerpoint/2010/main" val="23215754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Overlay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lIns="484632" tIns="182880" rIns="484632" bIns="3749039" anchor="b"/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1828800" tIns="1828800" rIns="1828800" anchor="t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457200" y="3355850"/>
            <a:ext cx="3657600" cy="30449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6855A553-1348-2446-812D-2DD6F11018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69962802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Col Solid - EMI Orange/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</p:spPr>
        <p:txBody>
          <a:bodyPr lIns="484632" tIns="182880" rIns="484632" bIns="4343400" anchor="b"/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tx1"/>
          </a:solidFill>
        </p:spPr>
        <p:txBody>
          <a:bodyPr lIns="182880" tIns="182880" rIns="182880" bIns="4343400" anchor="b"/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2679192"/>
            <a:ext cx="365760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29200" y="2679192"/>
            <a:ext cx="365760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>
                <a:ea typeface="Cambria" charset="0"/>
                <a:cs typeface="Cambria" charset="0"/>
              </a:rPr>
              <a:t>© </a:t>
            </a:r>
            <a:r>
              <a:rPr lang="en-US" kern="0">
                <a:ea typeface="Cambria" charset="0"/>
                <a:cs typeface="Cambria" charset="0"/>
              </a:rPr>
              <a:t>Euromonitor</a:t>
            </a:r>
            <a:r>
              <a:rPr lang="en-US">
                <a:ea typeface="Cambria" charset="0"/>
                <a:cs typeface="Cambria" charset="0"/>
              </a:rPr>
              <a:t> International</a:t>
            </a:r>
            <a:endParaRPr lang="en-US" dirty="0">
              <a:ea typeface="Cambria" charset="0"/>
              <a:cs typeface="Cambria" charset="0"/>
            </a:endParaRP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19FA16E-8F50-ED4F-92EC-CB34391CFE7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78351472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Col Solid - Charcoal/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accent1"/>
          </a:solidFill>
        </p:spPr>
        <p:txBody>
          <a:bodyPr lIns="182880" tIns="182880" rIns="182880" bIns="4343400" anchor="b"/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/>
          </a:solidFill>
        </p:spPr>
        <p:txBody>
          <a:bodyPr lIns="484632" tIns="182880" rIns="484632" bIns="4343400" anchor="b"/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2679192"/>
            <a:ext cx="365760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29200" y="2679192"/>
            <a:ext cx="365760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lvl="0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673CA379-F659-E84C-92AE-D2C119C9CF0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1289070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Col Image Left -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484632" tIns="182880" rIns="484632" bIns="3657600" anchor="b"/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3352800"/>
            <a:ext cx="365760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2000" cy="6858000"/>
          </a:xfrm>
          <a:prstGeom prst="rect">
            <a:avLst/>
          </a:prstGeom>
        </p:spPr>
        <p:txBody>
          <a:bodyPr lIns="548640" tIns="731520" rIns="548640" anchor="t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5029200" y="1151467"/>
            <a:ext cx="3657600" cy="45513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1EEE7B9-8307-364D-BD95-96D10495A7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5706" y="6548868"/>
            <a:ext cx="1088145" cy="15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4638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Col Image Left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lIns="484632" tIns="182880" rIns="484632" bIns="3657600" anchor="b"/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3352800"/>
            <a:ext cx="365760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2000" cy="6858000"/>
          </a:xfrm>
          <a:prstGeom prst="rect">
            <a:avLst/>
          </a:prstGeom>
          <a:noFill/>
        </p:spPr>
        <p:txBody>
          <a:bodyPr lIns="548640" tIns="731520" rIns="548640" anchor="t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5029200" y="2374392"/>
            <a:ext cx="3657600" cy="33284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5EFC59E-2151-C84F-976A-957D74345A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5706" y="6548868"/>
            <a:ext cx="1088145" cy="15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38893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:1 Col Image Left - S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484632" tIns="182880" rIns="484632" bIns="3657600" anchor="b"/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latin typeface="+mj-lt"/>
              </a:defRPr>
            </a:lvl2pPr>
            <a:lvl3pPr marL="914400" indent="0">
              <a:buNone/>
              <a:defRPr>
                <a:latin typeface="+mj-lt"/>
              </a:defRPr>
            </a:lvl3pPr>
            <a:lvl4pPr marL="1371600" indent="0">
              <a:buNone/>
              <a:defRPr>
                <a:latin typeface="+mj-lt"/>
              </a:defRPr>
            </a:lvl4pPr>
            <a:lvl5pPr marL="1828800" indent="0">
              <a:buNone/>
              <a:defRPr>
                <a:latin typeface="+mj-lt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2000" cy="6858000"/>
          </a:xfrm>
          <a:prstGeom prst="rect">
            <a:avLst/>
          </a:prstGeom>
        </p:spPr>
        <p:txBody>
          <a:bodyPr lIns="548640" tIns="731520" rIns="548640" anchor="t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3352800"/>
            <a:ext cx="365760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/>
          </p:nvPr>
        </p:nvSpPr>
        <p:spPr>
          <a:xfrm>
            <a:off x="5029200" y="2374392"/>
            <a:ext cx="3657600" cy="33284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>
                <a:ea typeface="Cambria" charset="0"/>
                <a:cs typeface="Cambria" charset="0"/>
              </a:rPr>
              <a:t>© </a:t>
            </a:r>
            <a:r>
              <a:rPr lang="en-US" kern="0">
                <a:ea typeface="Cambria" charset="0"/>
                <a:cs typeface="Cambria" charset="0"/>
              </a:rPr>
              <a:t>Euromonitor</a:t>
            </a:r>
            <a:r>
              <a:rPr lang="en-US">
                <a:ea typeface="Cambria" charset="0"/>
                <a:cs typeface="Cambria" charset="0"/>
              </a:rPr>
              <a:t> International</a:t>
            </a:r>
            <a:endParaRPr lang="en-US" dirty="0">
              <a:ea typeface="Cambria" charset="0"/>
              <a:cs typeface="Cambria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F4599D4-725F-E845-8C95-023D27C289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5706" y="6548868"/>
            <a:ext cx="1088145" cy="15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27097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Quote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304800" y="679794"/>
            <a:ext cx="3954737" cy="5120861"/>
          </a:xfrm>
          <a:prstGeom prst="rect">
            <a:avLst/>
          </a:prstGeom>
        </p:spPr>
        <p:txBody>
          <a:bodyPr lIns="0" tIns="0" rIns="91440" bIns="9144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5937181"/>
            <a:ext cx="3954737" cy="463620"/>
          </a:xfrm>
          <a:prstGeom prst="rect">
            <a:avLst/>
          </a:prstGeom>
        </p:spPr>
        <p:txBody>
          <a:bodyPr lIns="0" tIns="27432" rIns="0" bIns="0">
            <a:noAutofit/>
          </a:bodyPr>
          <a:lstStyle>
            <a:lvl1pPr marL="0" indent="0" algn="r">
              <a:lnSpc>
                <a:spcPts val="1500"/>
              </a:lnSpc>
              <a:spcBef>
                <a:spcPts val="0"/>
              </a:spcBef>
              <a:buNone/>
              <a:defRPr sz="1200" i="1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—Author, Click to add tex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6858000"/>
          </a:xfrm>
          <a:prstGeom prst="rect">
            <a:avLst/>
          </a:prstGeom>
        </p:spPr>
        <p:txBody>
          <a:bodyPr lIns="365760" tIns="365760" rIns="365760" bIns="365760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</a:p>
        </p:txBody>
      </p:sp>
      <p:grpSp>
        <p:nvGrpSpPr>
          <p:cNvPr id="33" name="Group 32"/>
          <p:cNvGrpSpPr>
            <a:grpSpLocks noChangeAspect="1"/>
          </p:cNvGrpSpPr>
          <p:nvPr userDrawn="1"/>
        </p:nvGrpSpPr>
        <p:grpSpPr>
          <a:xfrm rot="10800000">
            <a:off x="304800" y="228600"/>
            <a:ext cx="540233" cy="355874"/>
            <a:chOff x="7514215" y="3985644"/>
            <a:chExt cx="1052760" cy="693498"/>
          </a:xfrm>
          <a:solidFill>
            <a:schemeClr val="tx1">
              <a:lumMod val="60000"/>
              <a:lumOff val="40000"/>
            </a:schemeClr>
          </a:solidFill>
        </p:grpSpPr>
        <p:sp>
          <p:nvSpPr>
            <p:cNvPr id="34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5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217F34C3-37F8-1142-A589-8C13421D411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1313310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72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>
                  <a:alpha val="80000"/>
                </a:srgbClr>
              </a:gs>
              <a:gs pos="100000">
                <a:srgbClr val="F1B434">
                  <a:alpha val="80000"/>
                </a:srgbClr>
              </a:gs>
            </a:gsLst>
            <a:lin ang="0" scaled="1"/>
          </a:gradFill>
        </p:spPr>
        <p:txBody>
          <a:bodyPr lIns="457200" tIns="4937760" rIns="3108960" bIns="548640" anchor="t" anchorCtr="0">
            <a:noAutofit/>
          </a:bodyPr>
          <a:lstStyle>
            <a:lvl1pPr algn="l">
              <a:lnSpc>
                <a:spcPts val="3600"/>
              </a:lnSpc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txBody>
          <a:bodyPr lIns="1828800" tIns="1828800" rIns="1828800" anchor="t">
            <a:noAutofit/>
          </a:bodyPr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insert an image, change to Black and White then right click image and “SEND TO BACK”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4675523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4204607"/>
            <a:ext cx="914400" cy="40798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9" name="SmartArt Placeholder 11"/>
          <p:cNvSpPr>
            <a:spLocks noGrp="1"/>
          </p:cNvSpPr>
          <p:nvPr>
            <p:ph type="dgm" sz="quarter" idx="19" hasCustomPrompt="1"/>
          </p:nvPr>
        </p:nvSpPr>
        <p:spPr>
          <a:xfrm>
            <a:off x="457200" y="4675523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-1620982" y="4067654"/>
            <a:ext cx="1340427" cy="121573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Don’t fill in numbers if more then 5 sections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52400" y="6589801"/>
            <a:ext cx="2830613" cy="152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r>
              <a:rPr lang="en-US" sz="800" dirty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© </a:t>
            </a:r>
            <a:r>
              <a:rPr lang="en-US" sz="800" kern="0" dirty="0" err="1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Euromonitor</a:t>
            </a:r>
            <a:r>
              <a:rPr lang="en-US" sz="800" dirty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8499764" y="0"/>
            <a:ext cx="644236" cy="304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r"/>
            <a:fld id="{5F8EC74F-F43D-B546-84DB-988CF7340E3A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4AC9857F-D00B-A545-8A6A-6492EC15C88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3062173784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Quote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304800" y="679794"/>
            <a:ext cx="3954737" cy="5120861"/>
          </a:xfrm>
          <a:prstGeom prst="rect">
            <a:avLst/>
          </a:prstGeom>
        </p:spPr>
        <p:txBody>
          <a:bodyPr lIns="0" tIns="0" rIns="91440" bIns="9144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5937181"/>
            <a:ext cx="3954737" cy="463620"/>
          </a:xfrm>
          <a:prstGeom prst="rect">
            <a:avLst/>
          </a:prstGeom>
        </p:spPr>
        <p:txBody>
          <a:bodyPr lIns="0" tIns="27432" rIns="0" bIns="0">
            <a:noAutofit/>
          </a:bodyPr>
          <a:lstStyle>
            <a:lvl1pPr marL="0" marR="0" indent="0" algn="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 sz="1200" i="1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/>
            </a:pPr>
            <a:r>
              <a:rPr lang="en-US" dirty="0"/>
              <a:t>—Author, Click to add text</a:t>
            </a:r>
          </a:p>
          <a:p>
            <a:pPr lvl="0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0" cy="6858000"/>
          </a:xfrm>
          <a:prstGeom prst="rect">
            <a:avLst/>
          </a:prstGeom>
        </p:spPr>
        <p:txBody>
          <a:bodyPr lIns="365760" tIns="365760" rIns="365760" bIns="365760"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insert an image, then right click image and “SEND TO BACK”</a:t>
            </a:r>
          </a:p>
        </p:txBody>
      </p:sp>
      <p:grpSp>
        <p:nvGrpSpPr>
          <p:cNvPr id="33" name="Group 32"/>
          <p:cNvGrpSpPr>
            <a:grpSpLocks noChangeAspect="1"/>
          </p:cNvGrpSpPr>
          <p:nvPr userDrawn="1"/>
        </p:nvGrpSpPr>
        <p:grpSpPr>
          <a:xfrm rot="10800000">
            <a:off x="304800" y="228600"/>
            <a:ext cx="540233" cy="355874"/>
            <a:chOff x="7514215" y="3985644"/>
            <a:chExt cx="1052760" cy="693498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34" name="Rectangular Callout 13"/>
            <p:cNvSpPr/>
            <p:nvPr/>
          </p:nvSpPr>
          <p:spPr>
            <a:xfrm flipH="1">
              <a:off x="751421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5" name="Rectangular Callout 13"/>
            <p:cNvSpPr/>
            <p:nvPr/>
          </p:nvSpPr>
          <p:spPr>
            <a:xfrm flipH="1">
              <a:off x="8104765" y="3985644"/>
              <a:ext cx="462210" cy="693498"/>
            </a:xfrm>
            <a:custGeom>
              <a:avLst/>
              <a:gdLst>
                <a:gd name="connsiteX0" fmla="*/ 0 w 460344"/>
                <a:gd name="connsiteY0" fmla="*/ 0 h 457755"/>
                <a:gd name="connsiteX1" fmla="*/ 76724 w 460344"/>
                <a:gd name="connsiteY1" fmla="*/ 0 h 457755"/>
                <a:gd name="connsiteX2" fmla="*/ 76724 w 460344"/>
                <a:gd name="connsiteY2" fmla="*/ 0 h 457755"/>
                <a:gd name="connsiteX3" fmla="*/ 191810 w 460344"/>
                <a:gd name="connsiteY3" fmla="*/ 0 h 457755"/>
                <a:gd name="connsiteX4" fmla="*/ 460344 w 460344"/>
                <a:gd name="connsiteY4" fmla="*/ 0 h 457755"/>
                <a:gd name="connsiteX5" fmla="*/ 460344 w 460344"/>
                <a:gd name="connsiteY5" fmla="*/ 267024 h 457755"/>
                <a:gd name="connsiteX6" fmla="*/ 460344 w 460344"/>
                <a:gd name="connsiteY6" fmla="*/ 267024 h 457755"/>
                <a:gd name="connsiteX7" fmla="*/ 460344 w 460344"/>
                <a:gd name="connsiteY7" fmla="*/ 381463 h 457755"/>
                <a:gd name="connsiteX8" fmla="*/ 460344 w 460344"/>
                <a:gd name="connsiteY8" fmla="*/ 457755 h 457755"/>
                <a:gd name="connsiteX9" fmla="*/ 191810 w 460344"/>
                <a:gd name="connsiteY9" fmla="*/ 457755 h 457755"/>
                <a:gd name="connsiteX10" fmla="*/ 134269 w 460344"/>
                <a:gd name="connsiteY10" fmla="*/ 514974 h 457755"/>
                <a:gd name="connsiteX11" fmla="*/ 76724 w 460344"/>
                <a:gd name="connsiteY11" fmla="*/ 457755 h 457755"/>
                <a:gd name="connsiteX12" fmla="*/ 0 w 460344"/>
                <a:gd name="connsiteY12" fmla="*/ 457755 h 457755"/>
                <a:gd name="connsiteX13" fmla="*/ 0 w 460344"/>
                <a:gd name="connsiteY13" fmla="*/ 381463 h 457755"/>
                <a:gd name="connsiteX14" fmla="*/ 0 w 460344"/>
                <a:gd name="connsiteY14" fmla="*/ 267024 h 457755"/>
                <a:gd name="connsiteX15" fmla="*/ 0 w 460344"/>
                <a:gd name="connsiteY15" fmla="*/ 267024 h 457755"/>
                <a:gd name="connsiteX16" fmla="*/ 0 w 460344"/>
                <a:gd name="connsiteY16" fmla="*/ 0 h 457755"/>
                <a:gd name="connsiteX0" fmla="*/ 0 w 460344"/>
                <a:gd name="connsiteY0" fmla="*/ 0 h 550692"/>
                <a:gd name="connsiteX1" fmla="*/ 76724 w 460344"/>
                <a:gd name="connsiteY1" fmla="*/ 0 h 550692"/>
                <a:gd name="connsiteX2" fmla="*/ 76724 w 460344"/>
                <a:gd name="connsiteY2" fmla="*/ 0 h 550692"/>
                <a:gd name="connsiteX3" fmla="*/ 191810 w 460344"/>
                <a:gd name="connsiteY3" fmla="*/ 0 h 550692"/>
                <a:gd name="connsiteX4" fmla="*/ 460344 w 460344"/>
                <a:gd name="connsiteY4" fmla="*/ 0 h 550692"/>
                <a:gd name="connsiteX5" fmla="*/ 460344 w 460344"/>
                <a:gd name="connsiteY5" fmla="*/ 267024 h 550692"/>
                <a:gd name="connsiteX6" fmla="*/ 460344 w 460344"/>
                <a:gd name="connsiteY6" fmla="*/ 267024 h 550692"/>
                <a:gd name="connsiteX7" fmla="*/ 460344 w 460344"/>
                <a:gd name="connsiteY7" fmla="*/ 381463 h 550692"/>
                <a:gd name="connsiteX8" fmla="*/ 460344 w 460344"/>
                <a:gd name="connsiteY8" fmla="*/ 457755 h 550692"/>
                <a:gd name="connsiteX9" fmla="*/ 191810 w 460344"/>
                <a:gd name="connsiteY9" fmla="*/ 457755 h 550692"/>
                <a:gd name="connsiteX10" fmla="*/ 43781 w 460344"/>
                <a:gd name="connsiteY10" fmla="*/ 550692 h 550692"/>
                <a:gd name="connsiteX11" fmla="*/ 76724 w 460344"/>
                <a:gd name="connsiteY11" fmla="*/ 457755 h 550692"/>
                <a:gd name="connsiteX12" fmla="*/ 0 w 460344"/>
                <a:gd name="connsiteY12" fmla="*/ 457755 h 550692"/>
                <a:gd name="connsiteX13" fmla="*/ 0 w 460344"/>
                <a:gd name="connsiteY13" fmla="*/ 381463 h 550692"/>
                <a:gd name="connsiteX14" fmla="*/ 0 w 460344"/>
                <a:gd name="connsiteY14" fmla="*/ 267024 h 550692"/>
                <a:gd name="connsiteX15" fmla="*/ 0 w 460344"/>
                <a:gd name="connsiteY15" fmla="*/ 267024 h 550692"/>
                <a:gd name="connsiteX16" fmla="*/ 0 w 460344"/>
                <a:gd name="connsiteY16" fmla="*/ 0 h 550692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43781 w 460344"/>
                <a:gd name="connsiteY10" fmla="*/ 550692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55386"/>
                <a:gd name="connsiteX1" fmla="*/ 76724 w 460344"/>
                <a:gd name="connsiteY1" fmla="*/ 0 h 555386"/>
                <a:gd name="connsiteX2" fmla="*/ 76724 w 460344"/>
                <a:gd name="connsiteY2" fmla="*/ 0 h 555386"/>
                <a:gd name="connsiteX3" fmla="*/ 191810 w 460344"/>
                <a:gd name="connsiteY3" fmla="*/ 0 h 555386"/>
                <a:gd name="connsiteX4" fmla="*/ 460344 w 460344"/>
                <a:gd name="connsiteY4" fmla="*/ 0 h 555386"/>
                <a:gd name="connsiteX5" fmla="*/ 460344 w 460344"/>
                <a:gd name="connsiteY5" fmla="*/ 267024 h 555386"/>
                <a:gd name="connsiteX6" fmla="*/ 460344 w 460344"/>
                <a:gd name="connsiteY6" fmla="*/ 267024 h 555386"/>
                <a:gd name="connsiteX7" fmla="*/ 460344 w 460344"/>
                <a:gd name="connsiteY7" fmla="*/ 381463 h 555386"/>
                <a:gd name="connsiteX8" fmla="*/ 460344 w 460344"/>
                <a:gd name="connsiteY8" fmla="*/ 457755 h 555386"/>
                <a:gd name="connsiteX9" fmla="*/ 191810 w 460344"/>
                <a:gd name="connsiteY9" fmla="*/ 457755 h 555386"/>
                <a:gd name="connsiteX10" fmla="*/ 108075 w 460344"/>
                <a:gd name="connsiteY10" fmla="*/ 514973 h 555386"/>
                <a:gd name="connsiteX11" fmla="*/ 524 w 460344"/>
                <a:gd name="connsiteY11" fmla="*/ 555386 h 555386"/>
                <a:gd name="connsiteX12" fmla="*/ 0 w 460344"/>
                <a:gd name="connsiteY12" fmla="*/ 457755 h 555386"/>
                <a:gd name="connsiteX13" fmla="*/ 0 w 460344"/>
                <a:gd name="connsiteY13" fmla="*/ 381463 h 555386"/>
                <a:gd name="connsiteX14" fmla="*/ 0 w 460344"/>
                <a:gd name="connsiteY14" fmla="*/ 267024 h 555386"/>
                <a:gd name="connsiteX15" fmla="*/ 0 w 460344"/>
                <a:gd name="connsiteY15" fmla="*/ 267024 h 555386"/>
                <a:gd name="connsiteX16" fmla="*/ 0 w 460344"/>
                <a:gd name="connsiteY16" fmla="*/ 0 h 555386"/>
                <a:gd name="connsiteX0" fmla="*/ 0 w 460344"/>
                <a:gd name="connsiteY0" fmla="*/ 0 h 588723"/>
                <a:gd name="connsiteX1" fmla="*/ 76724 w 460344"/>
                <a:gd name="connsiteY1" fmla="*/ 0 h 588723"/>
                <a:gd name="connsiteX2" fmla="*/ 76724 w 460344"/>
                <a:gd name="connsiteY2" fmla="*/ 0 h 588723"/>
                <a:gd name="connsiteX3" fmla="*/ 191810 w 460344"/>
                <a:gd name="connsiteY3" fmla="*/ 0 h 588723"/>
                <a:gd name="connsiteX4" fmla="*/ 460344 w 460344"/>
                <a:gd name="connsiteY4" fmla="*/ 0 h 588723"/>
                <a:gd name="connsiteX5" fmla="*/ 460344 w 460344"/>
                <a:gd name="connsiteY5" fmla="*/ 267024 h 588723"/>
                <a:gd name="connsiteX6" fmla="*/ 460344 w 460344"/>
                <a:gd name="connsiteY6" fmla="*/ 267024 h 588723"/>
                <a:gd name="connsiteX7" fmla="*/ 460344 w 460344"/>
                <a:gd name="connsiteY7" fmla="*/ 381463 h 588723"/>
                <a:gd name="connsiteX8" fmla="*/ 460344 w 460344"/>
                <a:gd name="connsiteY8" fmla="*/ 457755 h 588723"/>
                <a:gd name="connsiteX9" fmla="*/ 191810 w 460344"/>
                <a:gd name="connsiteY9" fmla="*/ 457755 h 588723"/>
                <a:gd name="connsiteX10" fmla="*/ 108075 w 460344"/>
                <a:gd name="connsiteY10" fmla="*/ 514973 h 588723"/>
                <a:gd name="connsiteX11" fmla="*/ 524 w 460344"/>
                <a:gd name="connsiteY11" fmla="*/ 588723 h 588723"/>
                <a:gd name="connsiteX12" fmla="*/ 0 w 460344"/>
                <a:gd name="connsiteY12" fmla="*/ 457755 h 588723"/>
                <a:gd name="connsiteX13" fmla="*/ 0 w 460344"/>
                <a:gd name="connsiteY13" fmla="*/ 381463 h 588723"/>
                <a:gd name="connsiteX14" fmla="*/ 0 w 460344"/>
                <a:gd name="connsiteY14" fmla="*/ 267024 h 588723"/>
                <a:gd name="connsiteX15" fmla="*/ 0 w 460344"/>
                <a:gd name="connsiteY15" fmla="*/ 267024 h 588723"/>
                <a:gd name="connsiteX16" fmla="*/ 0 w 460344"/>
                <a:gd name="connsiteY16" fmla="*/ 0 h 588723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09941 w 462210"/>
                <a:gd name="connsiteY10" fmla="*/ 514973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193676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21848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  <a:gd name="connsiteX0" fmla="*/ 1866 w 462210"/>
                <a:gd name="connsiteY0" fmla="*/ 0 h 693498"/>
                <a:gd name="connsiteX1" fmla="*/ 78590 w 462210"/>
                <a:gd name="connsiteY1" fmla="*/ 0 h 693498"/>
                <a:gd name="connsiteX2" fmla="*/ 78590 w 462210"/>
                <a:gd name="connsiteY2" fmla="*/ 0 h 693498"/>
                <a:gd name="connsiteX3" fmla="*/ 193676 w 462210"/>
                <a:gd name="connsiteY3" fmla="*/ 0 h 693498"/>
                <a:gd name="connsiteX4" fmla="*/ 462210 w 462210"/>
                <a:gd name="connsiteY4" fmla="*/ 0 h 693498"/>
                <a:gd name="connsiteX5" fmla="*/ 462210 w 462210"/>
                <a:gd name="connsiteY5" fmla="*/ 267024 h 693498"/>
                <a:gd name="connsiteX6" fmla="*/ 462210 w 462210"/>
                <a:gd name="connsiteY6" fmla="*/ 267024 h 693498"/>
                <a:gd name="connsiteX7" fmla="*/ 462210 w 462210"/>
                <a:gd name="connsiteY7" fmla="*/ 381463 h 693498"/>
                <a:gd name="connsiteX8" fmla="*/ 462210 w 462210"/>
                <a:gd name="connsiteY8" fmla="*/ 457755 h 693498"/>
                <a:gd name="connsiteX9" fmla="*/ 227013 w 462210"/>
                <a:gd name="connsiteY9" fmla="*/ 457755 h 693498"/>
                <a:gd name="connsiteX10" fmla="*/ 114704 w 462210"/>
                <a:gd name="connsiteY10" fmla="*/ 576885 h 693498"/>
                <a:gd name="connsiteX11" fmla="*/ 9 w 462210"/>
                <a:gd name="connsiteY11" fmla="*/ 693498 h 693498"/>
                <a:gd name="connsiteX12" fmla="*/ 1866 w 462210"/>
                <a:gd name="connsiteY12" fmla="*/ 457755 h 693498"/>
                <a:gd name="connsiteX13" fmla="*/ 1866 w 462210"/>
                <a:gd name="connsiteY13" fmla="*/ 381463 h 693498"/>
                <a:gd name="connsiteX14" fmla="*/ 1866 w 462210"/>
                <a:gd name="connsiteY14" fmla="*/ 267024 h 693498"/>
                <a:gd name="connsiteX15" fmla="*/ 1866 w 462210"/>
                <a:gd name="connsiteY15" fmla="*/ 267024 h 693498"/>
                <a:gd name="connsiteX16" fmla="*/ 1866 w 462210"/>
                <a:gd name="connsiteY16" fmla="*/ 0 h 69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2210" h="693498">
                  <a:moveTo>
                    <a:pt x="1866" y="0"/>
                  </a:moveTo>
                  <a:lnTo>
                    <a:pt x="78590" y="0"/>
                  </a:lnTo>
                  <a:lnTo>
                    <a:pt x="78590" y="0"/>
                  </a:lnTo>
                  <a:lnTo>
                    <a:pt x="193676" y="0"/>
                  </a:lnTo>
                  <a:lnTo>
                    <a:pt x="462210" y="0"/>
                  </a:lnTo>
                  <a:lnTo>
                    <a:pt x="462210" y="267024"/>
                  </a:lnTo>
                  <a:lnTo>
                    <a:pt x="462210" y="267024"/>
                  </a:lnTo>
                  <a:lnTo>
                    <a:pt x="462210" y="381463"/>
                  </a:lnTo>
                  <a:lnTo>
                    <a:pt x="462210" y="457755"/>
                  </a:lnTo>
                  <a:lnTo>
                    <a:pt x="227013" y="457755"/>
                  </a:lnTo>
                  <a:lnTo>
                    <a:pt x="114704" y="576885"/>
                  </a:lnTo>
                  <a:cubicBezTo>
                    <a:pt x="69330" y="626074"/>
                    <a:pt x="62053" y="632402"/>
                    <a:pt x="9" y="693498"/>
                  </a:cubicBezTo>
                  <a:cubicBezTo>
                    <a:pt x="-166" y="660954"/>
                    <a:pt x="2041" y="490299"/>
                    <a:pt x="1866" y="457755"/>
                  </a:cubicBezTo>
                  <a:lnTo>
                    <a:pt x="1866" y="381463"/>
                  </a:lnTo>
                  <a:lnTo>
                    <a:pt x="1866" y="267024"/>
                  </a:lnTo>
                  <a:lnTo>
                    <a:pt x="1866" y="267024"/>
                  </a:lnTo>
                  <a:lnTo>
                    <a:pt x="186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>
                <a:ea typeface="Cambria" charset="0"/>
                <a:cs typeface="Cambria" charset="0"/>
              </a:rPr>
              <a:t>© </a:t>
            </a:r>
            <a:r>
              <a:rPr lang="en-US" kern="0">
                <a:ea typeface="Cambria" charset="0"/>
                <a:cs typeface="Cambria" charset="0"/>
              </a:rPr>
              <a:t>Euromonitor</a:t>
            </a:r>
            <a:r>
              <a:rPr lang="en-US">
                <a:ea typeface="Cambria" charset="0"/>
                <a:cs typeface="Cambria" charset="0"/>
              </a:rPr>
              <a:t> International</a:t>
            </a:r>
            <a:endParaRPr lang="en-US" dirty="0">
              <a:ea typeface="Cambria" charset="0"/>
              <a:cs typeface="Cambria" charset="0"/>
            </a:endParaRP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2AB1785-94A1-4F40-B24A-5213B909DF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69532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72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2 Text -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572000" y="0"/>
            <a:ext cx="4572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3429000"/>
            <a:ext cx="457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686800" y="1"/>
            <a:ext cx="457200" cy="304800"/>
          </a:xfrm>
          <a:prstGeom prst="rect">
            <a:avLst/>
          </a:prstGeom>
        </p:spPr>
        <p:txBody>
          <a:bodyPr>
            <a:noAutofit/>
          </a:bodyPr>
          <a:lstStyle/>
          <a:p>
            <a:fld id="{5F8EC74F-F43D-B546-84DB-988CF7340E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57200" y="480060"/>
            <a:ext cx="3657600" cy="246888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5029200" y="3909060"/>
            <a:ext cx="3657600" cy="246888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91F0E2-02B9-FD4B-985F-32821DB768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5706" y="6548868"/>
            <a:ext cx="1088145" cy="15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0643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2 Text - Image w 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0" y="3429000"/>
            <a:ext cx="4572000" cy="342900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anchor="b"/>
          <a:lstStyle>
            <a:lvl1pPr>
              <a:defRPr sz="5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0" y="0"/>
            <a:ext cx="4572000" cy="3429000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anchor="b"/>
          <a:lstStyle>
            <a:lvl1pPr>
              <a:defRPr sz="5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686800" y="1"/>
            <a:ext cx="457200" cy="304800"/>
          </a:xfrm>
          <a:prstGeom prst="rect">
            <a:avLst/>
          </a:prstGeom>
        </p:spPr>
        <p:txBody>
          <a:bodyPr/>
          <a:lstStyle/>
          <a:p>
            <a:fld id="{5F8EC74F-F43D-B546-84DB-988CF7340E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29000"/>
            <a:ext cx="4572000" cy="3429000"/>
          </a:xfrm>
          <a:prstGeom prst="rect">
            <a:avLst/>
          </a:prstGeom>
        </p:spPr>
        <p:txBody>
          <a:bodyPr lIns="0" tIns="640080" rIns="0" anchor="t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9" hasCustomPrompt="1"/>
          </p:nvPr>
        </p:nvSpPr>
        <p:spPr>
          <a:xfrm>
            <a:off x="4572000" y="0"/>
            <a:ext cx="4572000" cy="3429000"/>
          </a:xfrm>
          <a:prstGeom prst="rect">
            <a:avLst/>
          </a:prstGeom>
        </p:spPr>
        <p:txBody>
          <a:bodyPr tIns="640080" anchor="t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457200" y="480060"/>
            <a:ext cx="3657600" cy="2468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5029200" y="3909060"/>
            <a:ext cx="3657600" cy="24688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289C51-0492-C84C-9006-8CFFBEDBB8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5706" y="6548868"/>
            <a:ext cx="1088145" cy="15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70428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2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3429000"/>
            <a:ext cx="457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572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4572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4572000" y="3429000"/>
            <a:ext cx="4572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457200"/>
            <a:ext cx="3657600" cy="82296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1279177"/>
            <a:ext cx="3657600" cy="169164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57200" y="3885902"/>
            <a:ext cx="3657600" cy="82296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57200" y="4708176"/>
            <a:ext cx="3657600" cy="169164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457200"/>
            <a:ext cx="3657600" cy="82296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4" hasCustomPrompt="1"/>
          </p:nvPr>
        </p:nvSpPr>
        <p:spPr>
          <a:xfrm>
            <a:off x="5029200" y="1279177"/>
            <a:ext cx="3657600" cy="169164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029200" y="3885902"/>
            <a:ext cx="3657600" cy="82296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5029200" y="4708178"/>
            <a:ext cx="3657600" cy="169164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Footer Placeholder 1"/>
          <p:cNvSpPr>
            <a:spLocks noGrp="1"/>
          </p:cNvSpPr>
          <p:nvPr>
            <p:ph type="ftr" sz="quarter" idx="17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867B66AC-4AA2-354C-84B4-1467295C5F7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166740390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1 Col Sol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3429000"/>
            <a:ext cx="4572000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4572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7" y="457200"/>
            <a:ext cx="365760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6" y="1281112"/>
            <a:ext cx="3657600" cy="16906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57200" y="3886200"/>
            <a:ext cx="365760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57202" y="4710112"/>
            <a:ext cx="3657600" cy="16906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7"/>
          <p:cNvSpPr>
            <a:spLocks noGrp="1"/>
          </p:cNvSpPr>
          <p:nvPr>
            <p:ph sz="quarter" idx="17"/>
          </p:nvPr>
        </p:nvSpPr>
        <p:spPr>
          <a:xfrm>
            <a:off x="5029200" y="2374392"/>
            <a:ext cx="3657600" cy="402640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9C0578F-EB78-624B-BCF9-40F99B065A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5706" y="6548868"/>
            <a:ext cx="1088145" cy="15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0490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1 Col Soli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4572000" y="3429000"/>
            <a:ext cx="4572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4572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038347" y="457200"/>
            <a:ext cx="365760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38346" y="1281112"/>
            <a:ext cx="3657600" cy="169068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29200" y="3886200"/>
            <a:ext cx="365760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29202" y="4710112"/>
            <a:ext cx="3657600" cy="168714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457200" y="2374392"/>
            <a:ext cx="3657600" cy="402640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A237F71-93D9-8D43-A8AF-277F9D10E41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80461581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Solid 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305409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044952" y="0"/>
            <a:ext cx="305409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6089904" y="0"/>
            <a:ext cx="305409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92608" y="1681163"/>
            <a:ext cx="246888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92608" y="2505075"/>
            <a:ext cx="246888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3337560" y="1681163"/>
            <a:ext cx="246888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3337560" y="2505075"/>
            <a:ext cx="246888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82512" y="1681163"/>
            <a:ext cx="246888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4" hasCustomPrompt="1"/>
          </p:nvPr>
        </p:nvSpPr>
        <p:spPr>
          <a:xfrm>
            <a:off x="6382512" y="2505075"/>
            <a:ext cx="246888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>
                <a:ea typeface="Cambria" charset="0"/>
                <a:cs typeface="Cambria" charset="0"/>
              </a:rPr>
              <a:t>© </a:t>
            </a:r>
            <a:r>
              <a:rPr lang="en-US" kern="0">
                <a:ea typeface="Cambria" charset="0"/>
                <a:cs typeface="Cambria" charset="0"/>
              </a:rPr>
              <a:t>Euromonitor</a:t>
            </a:r>
            <a:r>
              <a:rPr lang="en-US">
                <a:ea typeface="Cambria" charset="0"/>
                <a:cs typeface="Cambria" charset="0"/>
              </a:rPr>
              <a:t> International</a:t>
            </a:r>
            <a:endParaRPr lang="en-US" dirty="0">
              <a:ea typeface="Cambria" charset="0"/>
              <a:cs typeface="Cambria" charset="0"/>
            </a:endParaRP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9A9D036-E6EE-6640-8B94-EA7E6EF222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3896308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Solid 1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92608" y="1681163"/>
            <a:ext cx="246888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92608" y="2505075"/>
            <a:ext cx="246888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/>
            </a:pPr>
            <a:r>
              <a:rPr lang="en-US" dirty="0"/>
              <a:t>Click to add 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/>
            </a:pP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3337560" y="1681163"/>
            <a:ext cx="246888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3337560" y="2505075"/>
            <a:ext cx="246888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82512" y="1681163"/>
            <a:ext cx="246888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4" hasCustomPrompt="1"/>
          </p:nvPr>
        </p:nvSpPr>
        <p:spPr>
          <a:xfrm>
            <a:off x="6382512" y="2505075"/>
            <a:ext cx="2468880" cy="235000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DD0BE138-2DAA-4148-B7FB-F8E85F08241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30597990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up Content 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3429000"/>
            <a:ext cx="3054096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044952" y="0"/>
            <a:ext cx="3054096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54096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6089904" y="0"/>
            <a:ext cx="3054096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5468" y="315433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5468" y="1149978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3044952" y="3429000"/>
            <a:ext cx="3054096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6089904" y="3429000"/>
            <a:ext cx="3054096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3360420" y="315433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3360420" y="1149978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6405372" y="315433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6405372" y="1149978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15468" y="3756727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315468" y="4591272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360420" y="3756727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3360420" y="4591272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6405372" y="3756727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6405372" y="4591272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3600F682-AA08-2B46-992A-6C0E75C839F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00156834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up Content 1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5468" y="315433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15468" y="1149978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3360420" y="315433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3360420" y="1149978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6405372" y="315433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6405372" y="1149978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15468" y="3756727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315468" y="4591272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360420" y="3756727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half" idx="20" hasCustomPrompt="1"/>
          </p:nvPr>
        </p:nvSpPr>
        <p:spPr>
          <a:xfrm>
            <a:off x="3360420" y="4591272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6405372" y="3756727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22" hasCustomPrompt="1"/>
          </p:nvPr>
        </p:nvSpPr>
        <p:spPr>
          <a:xfrm>
            <a:off x="6405372" y="4591272"/>
            <a:ext cx="2423160" cy="19742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F3672130-AE80-5140-AB54-2A3694E5D7F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723244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/>
              </a:gs>
              <a:gs pos="100000">
                <a:srgbClr val="F1B434"/>
              </a:gs>
            </a:gsLst>
            <a:lin ang="0" scaled="1"/>
          </a:gradFill>
        </p:spPr>
        <p:txBody>
          <a:bodyPr lIns="457200" tIns="4937760" rIns="3108960" bIns="548640" anchor="t" anchorCtr="0">
            <a:noAutofit/>
          </a:bodyPr>
          <a:lstStyle>
            <a:lvl1pPr algn="l">
              <a:lnSpc>
                <a:spcPts val="3600"/>
              </a:lnSpc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4675523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4204607"/>
            <a:ext cx="914400" cy="40798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lang="en-US" sz="3600" kern="0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  <a:defRPr sz="3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##.</a:t>
            </a:r>
          </a:p>
        </p:txBody>
      </p:sp>
      <p:sp>
        <p:nvSpPr>
          <p:cNvPr id="9" name="SmartArt Placeholder 11"/>
          <p:cNvSpPr>
            <a:spLocks noGrp="1"/>
          </p:cNvSpPr>
          <p:nvPr>
            <p:ph type="dgm" sz="quarter" idx="19" hasCustomPrompt="1"/>
          </p:nvPr>
        </p:nvSpPr>
        <p:spPr>
          <a:xfrm>
            <a:off x="457200" y="4675523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-1620982" y="4067654"/>
            <a:ext cx="1340427" cy="1215737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91440" tIns="91440" rIns="91440" bIns="9144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Don’t fill in numbers if more then 5 section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52400" y="6589801"/>
            <a:ext cx="2830613" cy="152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r>
              <a:rPr lang="en-US" sz="800" dirty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© </a:t>
            </a:r>
            <a:r>
              <a:rPr lang="en-US" sz="800" kern="0" dirty="0" err="1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Euromonitor</a:t>
            </a:r>
            <a:r>
              <a:rPr lang="en-US" sz="800" dirty="0">
                <a:solidFill>
                  <a:schemeClr val="bg1"/>
                </a:solidFill>
                <a:latin typeface="+mn-lt"/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8499764" y="0"/>
            <a:ext cx="644236" cy="304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r"/>
            <a:fld id="{5F8EC74F-F43D-B546-84DB-988CF7340E3A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0B46E058-2AE3-4B48-9BF0-FB485582900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391389838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up Short Text - Image 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txBody>
          <a:bodyPr anchor="b"/>
          <a:lstStyle>
            <a:lvl1pPr>
              <a:defRPr sz="600">
                <a:solidFill>
                  <a:schemeClr val="bg1"/>
                </a:solidFill>
              </a:defRPr>
            </a:lvl1pPr>
            <a:lvl2pPr>
              <a:defRPr sz="600">
                <a:solidFill>
                  <a:schemeClr val="bg1"/>
                </a:solidFill>
              </a:defRPr>
            </a:lvl2pPr>
            <a:lvl3pPr>
              <a:defRPr sz="600">
                <a:solidFill>
                  <a:schemeClr val="bg1"/>
                </a:solidFill>
              </a:defRPr>
            </a:lvl3pPr>
            <a:lvl4pPr>
              <a:defRPr sz="600">
                <a:solidFill>
                  <a:schemeClr val="bg1"/>
                </a:solidFill>
              </a:defRPr>
            </a:lvl4pPr>
            <a:lvl5pPr>
              <a:defRPr sz="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  </a:t>
            </a:r>
            <a:endParaRPr lang="en-US" dirty="0"/>
          </a:p>
        </p:txBody>
      </p:sp>
      <p:sp>
        <p:nvSpPr>
          <p:cNvPr id="41" name="Picture Placeholder 37"/>
          <p:cNvSpPr>
            <a:spLocks noGrp="1"/>
          </p:cNvSpPr>
          <p:nvPr>
            <p:ph type="pic" sz="quarter" idx="27" hasCustomPrompt="1"/>
          </p:nvPr>
        </p:nvSpPr>
        <p:spPr>
          <a:xfrm>
            <a:off x="0" y="3429000"/>
            <a:ext cx="3044952" cy="3429000"/>
          </a:xfrm>
          <a:prstGeom prst="rect">
            <a:avLst/>
          </a:prstGeom>
          <a:noFill/>
          <a:ln>
            <a:noFill/>
          </a:ln>
        </p:spPr>
        <p:txBody>
          <a:bodyPr lIns="182880" tIns="182880" rIns="182880" anchor="b"/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icon to insert an image, change to Black and White then right click image and “SEND TO BACK”</a:t>
            </a: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15468" y="1557817"/>
            <a:ext cx="2423160" cy="1147283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5468" y="723900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360420" y="1557817"/>
            <a:ext cx="2423160" cy="1147283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6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3360420" y="723900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6405372" y="1557817"/>
            <a:ext cx="2423160" cy="1147283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8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6405372" y="723900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15468" y="4990361"/>
            <a:ext cx="2423160" cy="1147283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0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15468" y="4149356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360420" y="4990361"/>
            <a:ext cx="2423160" cy="1147283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3360420" y="4149356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6405372" y="4990361"/>
            <a:ext cx="2423160" cy="1147283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+mn-lt"/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6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6405372" y="4149356"/>
            <a:ext cx="2423160" cy="82391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ts val="2800"/>
              </a:lnSpc>
              <a:spcBef>
                <a:spcPts val="0"/>
              </a:spcBef>
              <a:buFont typeface="Arial" charset="0"/>
              <a:buNone/>
              <a:defRPr sz="28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3" name="Picture Placeholder 37"/>
          <p:cNvSpPr>
            <a:spLocks noGrp="1"/>
          </p:cNvSpPr>
          <p:nvPr>
            <p:ph type="pic" sz="quarter" idx="29" hasCustomPrompt="1"/>
          </p:nvPr>
        </p:nvSpPr>
        <p:spPr>
          <a:xfrm>
            <a:off x="6099048" y="3429000"/>
            <a:ext cx="3044952" cy="3429000"/>
          </a:xfrm>
          <a:prstGeom prst="rect">
            <a:avLst/>
          </a:prstGeom>
          <a:noFill/>
          <a:ln>
            <a:noFill/>
          </a:ln>
        </p:spPr>
        <p:txBody>
          <a:bodyPr lIns="182880" tIns="182880" rIns="182880" anchor="b"/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  <a:p>
            <a:endParaRPr lang="en-US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3044952" cy="3429000"/>
          </a:xfrm>
          <a:prstGeom prst="rect">
            <a:avLst/>
          </a:prstGeom>
          <a:noFill/>
          <a:ln>
            <a:noFill/>
          </a:ln>
        </p:spPr>
        <p:txBody>
          <a:bodyPr lIns="182880" tIns="182880" rIns="182880" anchor="b"/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  <a:p>
            <a:endParaRPr lang="en-US"/>
          </a:p>
        </p:txBody>
      </p:sp>
      <p:sp>
        <p:nvSpPr>
          <p:cNvPr id="39" name="Picture Placeholder 37"/>
          <p:cNvSpPr>
            <a:spLocks noGrp="1"/>
          </p:cNvSpPr>
          <p:nvPr>
            <p:ph type="pic" sz="quarter" idx="25" hasCustomPrompt="1"/>
          </p:nvPr>
        </p:nvSpPr>
        <p:spPr>
          <a:xfrm>
            <a:off x="3049524" y="0"/>
            <a:ext cx="3044952" cy="3429000"/>
          </a:xfrm>
          <a:prstGeom prst="rect">
            <a:avLst/>
          </a:prstGeom>
          <a:noFill/>
          <a:ln>
            <a:noFill/>
          </a:ln>
        </p:spPr>
        <p:txBody>
          <a:bodyPr lIns="182880" tIns="182880" rIns="182880" anchor="b"/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  <a:p>
            <a:endParaRPr lang="en-US"/>
          </a:p>
        </p:txBody>
      </p:sp>
      <p:sp>
        <p:nvSpPr>
          <p:cNvPr id="40" name="Picture Placeholder 37"/>
          <p:cNvSpPr>
            <a:spLocks noGrp="1"/>
          </p:cNvSpPr>
          <p:nvPr>
            <p:ph type="pic" sz="quarter" idx="26" hasCustomPrompt="1"/>
          </p:nvPr>
        </p:nvSpPr>
        <p:spPr>
          <a:xfrm>
            <a:off x="6099048" y="0"/>
            <a:ext cx="3044952" cy="3429000"/>
          </a:xfrm>
          <a:prstGeom prst="rect">
            <a:avLst/>
          </a:prstGeom>
          <a:noFill/>
          <a:ln>
            <a:noFill/>
          </a:ln>
        </p:spPr>
        <p:txBody>
          <a:bodyPr lIns="182880" tIns="182880" rIns="182880" anchor="b"/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  <a:p>
            <a:endParaRPr lang="en-US"/>
          </a:p>
        </p:txBody>
      </p:sp>
      <p:sp>
        <p:nvSpPr>
          <p:cNvPr id="42" name="Picture Placeholder 37"/>
          <p:cNvSpPr>
            <a:spLocks noGrp="1"/>
          </p:cNvSpPr>
          <p:nvPr>
            <p:ph type="pic" sz="quarter" idx="28" hasCustomPrompt="1"/>
          </p:nvPr>
        </p:nvSpPr>
        <p:spPr>
          <a:xfrm>
            <a:off x="3049524" y="3429000"/>
            <a:ext cx="3044952" cy="3429000"/>
          </a:xfrm>
          <a:prstGeom prst="rect">
            <a:avLst/>
          </a:prstGeom>
          <a:noFill/>
          <a:ln>
            <a:noFill/>
          </a:ln>
        </p:spPr>
        <p:txBody>
          <a:bodyPr lIns="182880" tIns="182880" rIns="182880" anchor="b"/>
          <a:lstStyle>
            <a:lvl1pPr marL="0" marR="0" indent="0" algn="ctr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  <a:p>
            <a:endParaRPr lang="en-US"/>
          </a:p>
        </p:txBody>
      </p:sp>
      <p:sp>
        <p:nvSpPr>
          <p:cNvPr id="2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3C7EBE21-BE12-9E40-81D6-8FD041D83B6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39914869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0" y="4572000"/>
            <a:ext cx="3044952" cy="2286000"/>
          </a:xfrm>
          <a:prstGeom prst="rect">
            <a:avLst/>
          </a:prstGeom>
          <a:solidFill>
            <a:schemeClr val="tx1"/>
          </a:solidFill>
        </p:spPr>
        <p:txBody>
          <a:bodyPr lIns="155448" tIns="155448" rIns="155448" bIns="155448" anchor="t">
            <a:no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5" name="Content Placeholder 5"/>
          <p:cNvSpPr>
            <a:spLocks noGrp="1"/>
          </p:cNvSpPr>
          <p:nvPr>
            <p:ph sz="quarter" idx="27" hasCustomPrompt="1"/>
          </p:nvPr>
        </p:nvSpPr>
        <p:spPr>
          <a:xfrm>
            <a:off x="0" y="0"/>
            <a:ext cx="3044952" cy="2286000"/>
          </a:xfrm>
          <a:prstGeom prst="rect">
            <a:avLst/>
          </a:prstGeom>
          <a:solidFill>
            <a:schemeClr val="accent3"/>
          </a:solidFill>
        </p:spPr>
        <p:txBody>
          <a:bodyPr lIns="155448" tIns="155448" rIns="155448" bIns="155448" anchor="t">
            <a:no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6" name="Content Placeholder 5"/>
          <p:cNvSpPr>
            <a:spLocks noGrp="1"/>
          </p:cNvSpPr>
          <p:nvPr>
            <p:ph sz="quarter" idx="28" hasCustomPrompt="1"/>
          </p:nvPr>
        </p:nvSpPr>
        <p:spPr>
          <a:xfrm>
            <a:off x="0" y="2286000"/>
            <a:ext cx="3044952" cy="2286000"/>
          </a:xfrm>
          <a:prstGeom prst="rect">
            <a:avLst/>
          </a:prstGeom>
          <a:solidFill>
            <a:schemeClr val="accent1"/>
          </a:solidFill>
        </p:spPr>
        <p:txBody>
          <a:bodyPr lIns="155448" tIns="155448" rIns="155448" bIns="155448" anchor="t">
            <a:no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7" name="Content Placeholder 5"/>
          <p:cNvSpPr>
            <a:spLocks noGrp="1"/>
          </p:cNvSpPr>
          <p:nvPr>
            <p:ph sz="quarter" idx="29" hasCustomPrompt="1"/>
          </p:nvPr>
        </p:nvSpPr>
        <p:spPr>
          <a:xfrm>
            <a:off x="3049524" y="4572000"/>
            <a:ext cx="3044952" cy="2286000"/>
          </a:xfrm>
          <a:prstGeom prst="rect">
            <a:avLst/>
          </a:prstGeom>
          <a:solidFill>
            <a:schemeClr val="accent1"/>
          </a:solidFill>
        </p:spPr>
        <p:txBody>
          <a:bodyPr lIns="155448" tIns="155448" rIns="155448" bIns="155448" anchor="t">
            <a:no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8" name="Content Placeholder 5"/>
          <p:cNvSpPr>
            <a:spLocks noGrp="1"/>
          </p:cNvSpPr>
          <p:nvPr>
            <p:ph sz="quarter" idx="30" hasCustomPrompt="1"/>
          </p:nvPr>
        </p:nvSpPr>
        <p:spPr>
          <a:xfrm>
            <a:off x="3049524" y="0"/>
            <a:ext cx="3044952" cy="2286000"/>
          </a:xfrm>
          <a:prstGeom prst="rect">
            <a:avLst/>
          </a:prstGeom>
          <a:solidFill>
            <a:schemeClr val="bg2"/>
          </a:solidFill>
        </p:spPr>
        <p:txBody>
          <a:bodyPr lIns="155448" tIns="155448" rIns="155448" bIns="155448" anchor="t">
            <a:no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9" name="Content Placeholder 5"/>
          <p:cNvSpPr>
            <a:spLocks noGrp="1"/>
          </p:cNvSpPr>
          <p:nvPr>
            <p:ph sz="quarter" idx="31" hasCustomPrompt="1"/>
          </p:nvPr>
        </p:nvSpPr>
        <p:spPr>
          <a:xfrm>
            <a:off x="3049524" y="2286000"/>
            <a:ext cx="3044952" cy="2286000"/>
          </a:xfrm>
          <a:prstGeom prst="rect">
            <a:avLst/>
          </a:prstGeom>
          <a:solidFill>
            <a:schemeClr val="tx1"/>
          </a:solidFill>
        </p:spPr>
        <p:txBody>
          <a:bodyPr lIns="155448" tIns="155448" rIns="155448" bIns="155448" anchor="t">
            <a:no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0" name="Content Placeholder 5"/>
          <p:cNvSpPr>
            <a:spLocks noGrp="1"/>
          </p:cNvSpPr>
          <p:nvPr>
            <p:ph sz="quarter" idx="32" hasCustomPrompt="1"/>
          </p:nvPr>
        </p:nvSpPr>
        <p:spPr>
          <a:xfrm>
            <a:off x="6099048" y="4572000"/>
            <a:ext cx="3044952" cy="2286000"/>
          </a:xfrm>
          <a:prstGeom prst="rect">
            <a:avLst/>
          </a:prstGeom>
          <a:solidFill>
            <a:schemeClr val="accent3"/>
          </a:solidFill>
        </p:spPr>
        <p:txBody>
          <a:bodyPr lIns="155448" tIns="155448" rIns="155448" bIns="155448" anchor="t">
            <a:no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1" name="Content Placeholder 5"/>
          <p:cNvSpPr>
            <a:spLocks noGrp="1"/>
          </p:cNvSpPr>
          <p:nvPr>
            <p:ph sz="quarter" idx="33" hasCustomPrompt="1"/>
          </p:nvPr>
        </p:nvSpPr>
        <p:spPr>
          <a:xfrm>
            <a:off x="6099048" y="0"/>
            <a:ext cx="3044952" cy="2286000"/>
          </a:xfrm>
          <a:prstGeom prst="rect">
            <a:avLst/>
          </a:prstGeom>
          <a:solidFill>
            <a:schemeClr val="tx1"/>
          </a:solidFill>
        </p:spPr>
        <p:txBody>
          <a:bodyPr lIns="155448" tIns="155448" rIns="155448" bIns="155448" anchor="t">
            <a:no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2" name="Content Placeholder 5"/>
          <p:cNvSpPr>
            <a:spLocks noGrp="1"/>
          </p:cNvSpPr>
          <p:nvPr>
            <p:ph sz="quarter" idx="34" hasCustomPrompt="1"/>
          </p:nvPr>
        </p:nvSpPr>
        <p:spPr>
          <a:xfrm>
            <a:off x="6099048" y="2286000"/>
            <a:ext cx="3044952" cy="2286000"/>
          </a:xfrm>
          <a:prstGeom prst="rect">
            <a:avLst/>
          </a:prstGeom>
          <a:solidFill>
            <a:schemeClr val="bg2"/>
          </a:solidFill>
        </p:spPr>
        <p:txBody>
          <a:bodyPr lIns="155448" tIns="155448" rIns="155448" bIns="155448" anchor="t">
            <a:noAutofit/>
          </a:bodyPr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FCE259AE-6FA2-DE49-8C03-2AB7F423A37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328994D-6371-A046-A42D-21C8355CBF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652084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, 2 facts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0" y="0"/>
            <a:ext cx="6094413" cy="6858000"/>
          </a:xfrm>
          <a:prstGeom prst="rect">
            <a:avLst/>
          </a:prstGeom>
        </p:spPr>
        <p:txBody>
          <a:bodyPr lIns="274320" tIns="457200" rIns="274320">
            <a:noAutofit/>
          </a:bodyPr>
          <a:lstStyle/>
          <a:p>
            <a:pPr lvl="0"/>
            <a:r>
              <a:rPr lang="en-US" dirty="0"/>
              <a:t>Insert chart or Imag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6094508" y="0"/>
            <a:ext cx="3049492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6094508" y="3429000"/>
            <a:ext cx="3049492" cy="3429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/>
          <a:p>
            <a:fld id="{5F8EC74F-F43D-B546-84DB-988CF7340E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247654" y="1032205"/>
            <a:ext cx="2743200" cy="601663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1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247654" y="1633868"/>
            <a:ext cx="2743200" cy="109388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247654" y="4295726"/>
            <a:ext cx="2743200" cy="601663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2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6247654" y="4897389"/>
            <a:ext cx="2743200" cy="109388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C76C27B0-3FEF-FB40-86B7-FDACB417102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303047656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, 3 facts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0" y="0"/>
            <a:ext cx="6094413" cy="6858000"/>
          </a:xfrm>
          <a:prstGeom prst="rect">
            <a:avLst/>
          </a:prstGeom>
        </p:spPr>
        <p:txBody>
          <a:bodyPr lIns="274320" tIns="457200" rIns="274320">
            <a:noAutofit/>
          </a:bodyPr>
          <a:lstStyle/>
          <a:p>
            <a:pPr lvl="0"/>
            <a:r>
              <a:rPr lang="en-US" dirty="0"/>
              <a:t>Insert chart or Imag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6094508" y="0"/>
            <a:ext cx="3049492" cy="228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6094508" y="2286000"/>
            <a:ext cx="3049492" cy="228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/>
          <a:p>
            <a:fld id="{5F8EC74F-F43D-B546-84DB-988CF7340E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6094508" y="4572000"/>
            <a:ext cx="3049492" cy="228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247654" y="302404"/>
            <a:ext cx="2743200" cy="601663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1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247654" y="904067"/>
            <a:ext cx="2743200" cy="109388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247654" y="2588601"/>
            <a:ext cx="2743200" cy="601663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2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6247654" y="3190264"/>
            <a:ext cx="2743200" cy="109388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247654" y="4874601"/>
            <a:ext cx="2743200" cy="601663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3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5"/>
          </p:nvPr>
        </p:nvSpPr>
        <p:spPr>
          <a:xfrm>
            <a:off x="6247654" y="5476264"/>
            <a:ext cx="2743200" cy="109388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903322EF-9B1A-F04A-B827-7A61808B485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39673407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, 3 facts (b)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0" y="-1"/>
            <a:ext cx="9144000" cy="4653021"/>
          </a:xfrm>
          <a:prstGeom prst="rect">
            <a:avLst/>
          </a:prstGeom>
        </p:spPr>
        <p:txBody>
          <a:bodyPr lIns="274320" tIns="457200" rIns="274320">
            <a:noAutofit/>
          </a:bodyPr>
          <a:lstStyle/>
          <a:p>
            <a:pPr lvl="0"/>
            <a:r>
              <a:rPr lang="en-US" dirty="0"/>
              <a:t>Insert chart or Imag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4653022"/>
            <a:ext cx="3049492" cy="22049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3047254" y="4653022"/>
            <a:ext cx="3049492" cy="220497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>
            <a:noAutofit/>
          </a:bodyPr>
          <a:lstStyle/>
          <a:p>
            <a:fld id="{5F8EC74F-F43D-B546-84DB-988CF7340E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6094508" y="4653022"/>
            <a:ext cx="3049492" cy="220497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152400" y="4876803"/>
            <a:ext cx="2743200" cy="609600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1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52400" y="5486403"/>
            <a:ext cx="2743200" cy="9144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200400" y="4876803"/>
            <a:ext cx="2743200" cy="609600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2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200400" y="5486403"/>
            <a:ext cx="2743200" cy="9144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245416" y="4876803"/>
            <a:ext cx="2743200" cy="609600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3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6245416" y="5486403"/>
            <a:ext cx="2743200" cy="9144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9A685C4-A955-1B41-9E44-7C99ED79823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18579947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Facts Overlay (b) - 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274320" tIns="274320" rIns="274320"/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/>
            </a:lvl1pPr>
          </a:lstStyle>
          <a:p>
            <a:r>
              <a:rPr lang="en-US"/>
              <a:t>Click icon to insert an image, then right click image and “SEND TO BACK”</a:t>
            </a:r>
          </a:p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0" y="4653022"/>
            <a:ext cx="9144000" cy="2204978"/>
          </a:xfrm>
          <a:prstGeom prst="rect">
            <a:avLst/>
          </a:prstGeom>
          <a:solidFill>
            <a:schemeClr val="tx1">
              <a:alpha val="80000"/>
            </a:schemeClr>
          </a:solidFill>
        </p:spPr>
        <p:txBody>
          <a:bodyPr anchor="b"/>
          <a:lstStyle>
            <a:lvl1pPr>
              <a:defRPr sz="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/>
          <a:p>
            <a:fld id="{5F8EC74F-F43D-B546-84DB-988CF7340E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152400" y="4876803"/>
            <a:ext cx="2743200" cy="609600"/>
          </a:xfrm>
          <a:prstGeom prst="rect">
            <a:avLst/>
          </a:prstGeom>
        </p:spPr>
        <p:txBody>
          <a:bodyPr anchor="t"/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1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52400" y="5486403"/>
            <a:ext cx="2743200" cy="91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200400" y="4876803"/>
            <a:ext cx="2743200" cy="609600"/>
          </a:xfrm>
          <a:prstGeom prst="rect">
            <a:avLst/>
          </a:prstGeom>
        </p:spPr>
        <p:txBody>
          <a:bodyPr anchor="t"/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2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200400" y="5486403"/>
            <a:ext cx="2743200" cy="91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245416" y="4876803"/>
            <a:ext cx="2743200" cy="609600"/>
          </a:xfrm>
          <a:prstGeom prst="rect">
            <a:avLst/>
          </a:prstGeom>
        </p:spPr>
        <p:txBody>
          <a:bodyPr anchor="t"/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3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6245416" y="5486403"/>
            <a:ext cx="2743200" cy="91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7844D6A0-13DE-034C-989A-C457E0D198B1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234104463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Facts Overlay (b)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274320" tIns="274320" rIns="274320"/>
          <a:lstStyle>
            <a:lvl1pPr marL="0" marR="0" indent="0" algn="l" defTabSz="914400" rtl="0" eaLnBrk="1" fontAlgn="auto" latinLnBrk="0" hangingPunct="1">
              <a:lnSpc>
                <a:spcPts val="1900"/>
              </a:lnSpc>
              <a:spcBef>
                <a:spcPts val="150"/>
              </a:spcBef>
              <a:spcAft>
                <a:spcPts val="150"/>
              </a:spcAft>
              <a:buClrTx/>
              <a:buSzPct val="100000"/>
              <a:buFont typeface="Wingdings" charset="2"/>
              <a:buNone/>
              <a:tabLst/>
              <a:defRPr/>
            </a:lvl1pPr>
          </a:lstStyle>
          <a:p>
            <a:r>
              <a:rPr lang="en-US"/>
              <a:t>Click icon to insert an image, then right click image and “SEND TO BACK”</a:t>
            </a:r>
          </a:p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0" y="4653022"/>
            <a:ext cx="9144000" cy="2204978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anchor="b"/>
          <a:lstStyle>
            <a:lvl1pPr>
              <a:defRPr sz="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8686800" y="0"/>
            <a:ext cx="457200" cy="304800"/>
          </a:xfrm>
          <a:prstGeom prst="rect">
            <a:avLst/>
          </a:prstGeom>
        </p:spPr>
        <p:txBody>
          <a:bodyPr/>
          <a:lstStyle/>
          <a:p>
            <a:fld id="{5F8EC74F-F43D-B546-84DB-988CF7340E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152400" y="4876803"/>
            <a:ext cx="2743200" cy="609600"/>
          </a:xfrm>
          <a:prstGeom prst="rect">
            <a:avLst/>
          </a:prstGeom>
        </p:spPr>
        <p:txBody>
          <a:bodyPr anchor="t"/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1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52400" y="5486403"/>
            <a:ext cx="2743200" cy="91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200400" y="4876803"/>
            <a:ext cx="2743200" cy="609600"/>
          </a:xfrm>
          <a:prstGeom prst="rect">
            <a:avLst/>
          </a:prstGeom>
        </p:spPr>
        <p:txBody>
          <a:bodyPr anchor="t"/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2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3200400" y="5486403"/>
            <a:ext cx="2743200" cy="91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245416" y="4876803"/>
            <a:ext cx="2743200" cy="609600"/>
          </a:xfrm>
          <a:prstGeom prst="rect">
            <a:avLst/>
          </a:prstGeom>
        </p:spPr>
        <p:txBody>
          <a:bodyPr anchor="t"/>
          <a:lstStyle>
            <a:lvl1pPr algn="ctr">
              <a:lnSpc>
                <a:spcPts val="54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Fact 3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6245416" y="5486403"/>
            <a:ext cx="2743200" cy="91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dirty="0"/>
              <a:t>Click to edit Master text styles</a:t>
            </a:r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>
                <a:ea typeface="Cambria" charset="0"/>
                <a:cs typeface="Cambria" charset="0"/>
              </a:rPr>
              <a:t>© </a:t>
            </a:r>
            <a:r>
              <a:rPr lang="en-US" kern="0">
                <a:ea typeface="Cambria" charset="0"/>
                <a:cs typeface="Cambria" charset="0"/>
              </a:rPr>
              <a:t>Euromonitor</a:t>
            </a:r>
            <a:r>
              <a:rPr lang="en-US">
                <a:ea typeface="Cambria" charset="0"/>
                <a:cs typeface="Cambria" charset="0"/>
              </a:rPr>
              <a:t> International</a:t>
            </a:r>
            <a:endParaRPr lang="en-US" dirty="0">
              <a:ea typeface="Cambria" charset="0"/>
              <a:cs typeface="Cambria" charset="0"/>
            </a:endParaRP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6BFD698D-4FAB-C24D-B0A3-C01CE66D37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91272" y="6547104"/>
            <a:ext cx="1088136" cy="155448"/>
          </a:xfrm>
        </p:spPr>
        <p:txBody>
          <a:bodyPr anchor="t"/>
          <a:lstStyle>
            <a:lvl1pPr>
              <a:lnSpc>
                <a:spcPts val="800"/>
              </a:lnSpc>
              <a:spcAft>
                <a:spcPts val="0"/>
              </a:spcAft>
              <a:defRPr sz="800"/>
            </a:lvl1pPr>
          </a:lstStyle>
          <a:p>
            <a:r>
              <a:rPr lang="en-US" dirty="0"/>
              <a:t>Place EMI Logo Here</a:t>
            </a:r>
          </a:p>
        </p:txBody>
      </p:sp>
    </p:spTree>
    <p:extLst>
      <p:ext uri="{BB962C8B-B14F-4D97-AF65-F5344CB8AC3E}">
        <p14:creationId xmlns:p14="http://schemas.microsoft.com/office/powerpoint/2010/main" val="112067349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>
                  <a:alpha val="85000"/>
                </a:srgbClr>
              </a:gs>
              <a:gs pos="100000">
                <a:srgbClr val="F1B434">
                  <a:alpha val="85000"/>
                </a:srgbClr>
              </a:gs>
            </a:gsLst>
            <a:lin ang="0" scaled="1"/>
          </a:gradFill>
        </p:spPr>
        <p:txBody>
          <a:bodyPr lIns="457200" tIns="685800" rIns="2286000" bIns="21945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txBody>
          <a:bodyPr lIns="1828800" tIns="1828800" rIns="1828800" bIns="3657600" anchor="ctr" anchorCtr="0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n image, change to Black and White then right click image and “SEND TO BACK”</a:t>
            </a:r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/>
          </p:nvPr>
        </p:nvSpPr>
        <p:spPr>
          <a:xfrm>
            <a:off x="457200" y="5029199"/>
            <a:ext cx="5486400" cy="61371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6553200" y="6225862"/>
            <a:ext cx="2286000" cy="3291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lace EMI Logo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200" y="5642919"/>
            <a:ext cx="5486400" cy="4695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4794504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200" y="6224004"/>
            <a:ext cx="3200400" cy="32919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100" baseline="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Place Partner Logo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405479763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5000">
                <a:srgbClr val="FF6A13"/>
              </a:gs>
              <a:gs pos="99000">
                <a:srgbClr val="F1B434"/>
              </a:gs>
            </a:gsLst>
            <a:lin ang="0" scaled="1"/>
          </a:gradFill>
        </p:spPr>
        <p:txBody>
          <a:bodyPr lIns="457200" tIns="685800" rIns="2286000" bIns="2194560" anchor="b" anchorCtr="0">
            <a:noAutofit/>
          </a:bodyPr>
          <a:lstStyle>
            <a:lvl1pPr algn="l">
              <a:lnSpc>
                <a:spcPts val="4400"/>
              </a:lnSpc>
              <a:defRPr sz="44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6868" name="Rectangle 1028"/>
          <p:cNvSpPr>
            <a:spLocks noGrp="1" noChangeArrowheads="1"/>
          </p:cNvSpPr>
          <p:nvPr>
            <p:ph type="subTitle" idx="1"/>
          </p:nvPr>
        </p:nvSpPr>
        <p:spPr>
          <a:xfrm>
            <a:off x="457200" y="5029199"/>
            <a:ext cx="5486400" cy="61371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6553200" y="6225862"/>
            <a:ext cx="2286000" cy="3291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lace EMI Logo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200" y="5642919"/>
            <a:ext cx="5486400" cy="4695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martArt Placeholder 11"/>
          <p:cNvSpPr>
            <a:spLocks noGrp="1"/>
          </p:cNvSpPr>
          <p:nvPr>
            <p:ph type="dgm" sz="quarter" idx="14" hasCustomPrompt="1"/>
          </p:nvPr>
        </p:nvSpPr>
        <p:spPr>
          <a:xfrm>
            <a:off x="457200" y="4794504"/>
            <a:ext cx="914400" cy="8229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800" baseline="0"/>
            </a:lvl1pPr>
          </a:lstStyle>
          <a:p>
            <a:r>
              <a:rPr lang="en-US"/>
              <a:t> </a:t>
            </a:r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200" y="6225862"/>
            <a:ext cx="3200400" cy="33310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000" baseline="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Place Partner Logo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15596930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Overview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600" b="0" i="0" u="none" strike="noStrike" kern="1200" cap="none" spc="0" normalizeH="0" noProof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Overview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5240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5240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5240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5240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8100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8100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100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38100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6096000" y="3272998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096000" y="1676400"/>
            <a:ext cx="1524000" cy="1001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2909207"/>
            <a:ext cx="1524000" cy="29119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2800">
                <a:latin typeface="+mj-lt"/>
              </a:defRPr>
            </a:lvl2pPr>
            <a:lvl3pPr marL="0" indent="0">
              <a:buNone/>
              <a:defRPr sz="2800">
                <a:latin typeface="+mj-lt"/>
              </a:defRPr>
            </a:lvl3pPr>
            <a:lvl4pPr marL="0" indent="0">
              <a:buNone/>
              <a:defRPr sz="2800">
                <a:latin typeface="+mj-lt"/>
              </a:defRPr>
            </a:lvl4pPr>
            <a:lvl5pPr marL="0" indent="0"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##.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096000" y="3507694"/>
            <a:ext cx="1524000" cy="2297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800">
                <a:latin typeface="+mj-lt"/>
              </a:defRPr>
            </a:lvl2pPr>
            <a:lvl3pPr marL="0" indent="0">
              <a:buNone/>
              <a:defRPr sz="1800">
                <a:latin typeface="+mj-lt"/>
              </a:defRPr>
            </a:lvl3pPr>
            <a:lvl4pPr marL="0" indent="0">
              <a:buNone/>
              <a:defRPr sz="1800">
                <a:latin typeface="+mj-lt"/>
              </a:defRPr>
            </a:lvl4pPr>
            <a:lvl5pPr marL="0" indent="0">
              <a:buNone/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section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10000" y="1066800"/>
            <a:ext cx="1417608" cy="365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324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9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78.xml"/><Relationship Id="rId34" Type="http://schemas.openxmlformats.org/officeDocument/2006/relationships/slideLayout" Target="../slideLayouts/slideLayout91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5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86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4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88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92.xml"/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9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38.xml"/><Relationship Id="rId47" Type="http://schemas.openxmlformats.org/officeDocument/2006/relationships/slideLayout" Target="../slideLayouts/slideLayout143.xml"/><Relationship Id="rId50" Type="http://schemas.openxmlformats.org/officeDocument/2006/relationships/theme" Target="../theme/theme3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37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36.xml"/><Relationship Id="rId45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slideLayout" Target="../slideLayouts/slideLayout132.xml"/><Relationship Id="rId49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4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31.xml"/><Relationship Id="rId43" Type="http://schemas.openxmlformats.org/officeDocument/2006/relationships/slideLayout" Target="../slideLayouts/slideLayout139.xml"/><Relationship Id="rId48" Type="http://schemas.openxmlformats.org/officeDocument/2006/relationships/slideLayout" Target="../slideLayouts/slideLayout144.xml"/><Relationship Id="rId8" Type="http://schemas.openxmlformats.org/officeDocument/2006/relationships/slideLayout" Target="../slideLayouts/slideLayout104.xml"/><Relationship Id="rId51" Type="http://schemas.openxmlformats.org/officeDocument/2006/relationships/image" Target="../media/image2.emf"/><Relationship Id="rId3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slideLayout" Target="../slideLayouts/slideLayout129.xml"/><Relationship Id="rId38" Type="http://schemas.openxmlformats.org/officeDocument/2006/relationships/slideLayout" Target="../slideLayouts/slideLayout134.xml"/><Relationship Id="rId46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116.xml"/><Relationship Id="rId41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50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49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52400" y="6589801"/>
            <a:ext cx="2830613" cy="152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r>
              <a:rPr lang="en-US" sz="800" dirty="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© </a:t>
            </a:r>
            <a:r>
              <a:rPr lang="en-US" sz="800" kern="0" dirty="0" err="1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Euromonitor</a:t>
            </a:r>
            <a:r>
              <a:rPr lang="en-US" sz="800" dirty="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0"/>
            <a:ext cx="9144000" cy="304800"/>
          </a:xfrm>
          <a:prstGeom prst="rect">
            <a:avLst/>
          </a:prstGeom>
          <a:gradFill>
            <a:gsLst>
              <a:gs pos="100000">
                <a:schemeClr val="accent3"/>
              </a:gs>
              <a:gs pos="5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Title Placeholder 18"/>
          <p:cNvSpPr>
            <a:spLocks noGrp="1"/>
          </p:cNvSpPr>
          <p:nvPr>
            <p:ph type="title"/>
          </p:nvPr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5706" y="6548868"/>
            <a:ext cx="1088145" cy="15699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4114800" y="1219200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499764" y="0"/>
            <a:ext cx="644236" cy="304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r"/>
            <a:fld id="{5F8EC74F-F43D-B546-84DB-988CF7340E3A}" type="slidenum">
              <a:rPr lang="en-US" sz="900" smtClean="0"/>
              <a:pPr algn="r"/>
              <a:t>‹#›</a:t>
            </a:fld>
            <a:endParaRPr lang="en-US" sz="9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301752" y="1673352"/>
            <a:ext cx="8537448" cy="44988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3D09BC-62D0-894F-8B69-EE61759585FF}"/>
              </a:ext>
            </a:extLst>
          </p:cNvPr>
          <p:cNvSpPr txBox="1"/>
          <p:nvPr userDrawn="1"/>
        </p:nvSpPr>
        <p:spPr>
          <a:xfrm>
            <a:off x="4275667" y="0"/>
            <a:ext cx="0" cy="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6003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  <p:sldLayoutId id="2147483997" r:id="rId13"/>
    <p:sldLayoutId id="2147484038" r:id="rId14"/>
    <p:sldLayoutId id="2147483998" r:id="rId15"/>
    <p:sldLayoutId id="2147483999" r:id="rId16"/>
    <p:sldLayoutId id="2147484000" r:id="rId17"/>
    <p:sldLayoutId id="2147484032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  <p:sldLayoutId id="2147484007" r:id="rId25"/>
    <p:sldLayoutId id="2147484008" r:id="rId26"/>
    <p:sldLayoutId id="2147484009" r:id="rId27"/>
    <p:sldLayoutId id="2147484010" r:id="rId28"/>
    <p:sldLayoutId id="2147484011" r:id="rId29"/>
    <p:sldLayoutId id="2147484036" r:id="rId30"/>
    <p:sldLayoutId id="2147484012" r:id="rId31"/>
    <p:sldLayoutId id="2147484013" r:id="rId32"/>
    <p:sldLayoutId id="2147484014" r:id="rId33"/>
    <p:sldLayoutId id="2147484015" r:id="rId34"/>
    <p:sldLayoutId id="2147484173" r:id="rId35"/>
    <p:sldLayoutId id="2147484174" r:id="rId36"/>
    <p:sldLayoutId id="2147484171" r:id="rId37"/>
    <p:sldLayoutId id="2147484016" r:id="rId38"/>
    <p:sldLayoutId id="2147484017" r:id="rId39"/>
    <p:sldLayoutId id="2147484168" r:id="rId40"/>
    <p:sldLayoutId id="2147484018" r:id="rId41"/>
    <p:sldLayoutId id="2147484019" r:id="rId42"/>
    <p:sldLayoutId id="2147484020" r:id="rId43"/>
    <p:sldLayoutId id="2147484172" r:id="rId44"/>
    <p:sldLayoutId id="2147484021" r:id="rId45"/>
    <p:sldLayoutId id="2147484022" r:id="rId46"/>
    <p:sldLayoutId id="2147484023" r:id="rId47"/>
    <p:sldLayoutId id="2147484024" r:id="rId48"/>
    <p:sldLayoutId id="2147484025" r:id="rId49"/>
    <p:sldLayoutId id="2147484026" r:id="rId50"/>
    <p:sldLayoutId id="2147484027" r:id="rId51"/>
    <p:sldLayoutId id="2147484028" r:id="rId52"/>
    <p:sldLayoutId id="2147484029" r:id="rId53"/>
    <p:sldLayoutId id="2147484030" r:id="rId54"/>
    <p:sldLayoutId id="2147484031" r:id="rId55"/>
    <p:sldLayoutId id="2147484170" r:id="rId56"/>
    <p:sldLayoutId id="2147484183" r:id="rId57"/>
  </p:sldLayoutIdLst>
  <p:hf hdr="0" dt="0"/>
  <p:txStyles>
    <p:titleStyle>
      <a:lvl1pPr algn="ctr" defTabSz="914400" rtl="0" eaLnBrk="1" latinLnBrk="0" hangingPunct="1">
        <a:lnSpc>
          <a:spcPts val="2400"/>
        </a:lnSpc>
        <a:spcBef>
          <a:spcPct val="0"/>
        </a:spcBef>
        <a:buNone/>
        <a:defRPr sz="2100" kern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1000"/>
        </a:spcAft>
        <a:buClrTx/>
        <a:buSzPct val="100000"/>
        <a:buFont typeface="Wingdings" charset="2"/>
        <a:buNone/>
        <a:tabLst/>
        <a:defRPr lang="en-US" sz="1600" kern="0" baseline="0" smtClean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Tx/>
        <a:buNone/>
        <a:tabLst/>
        <a:defRPr sz="1600" kern="0">
          <a:solidFill>
            <a:schemeClr val="accent3"/>
          </a:solidFill>
          <a:latin typeface="+mj-lt"/>
          <a:ea typeface="+mn-ea"/>
          <a:cs typeface="+mn-cs"/>
        </a:defRPr>
      </a:lvl2pPr>
      <a:lvl3pPr marL="228600" marR="0" indent="-22860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 typeface="Wingdings" charset="2"/>
        <a:buChar char="§"/>
        <a:tabLst/>
        <a:defRPr sz="1600" kern="0">
          <a:solidFill>
            <a:schemeClr val="tx1"/>
          </a:solidFill>
          <a:latin typeface="+mj-lt"/>
          <a:ea typeface="+mn-ea"/>
          <a:cs typeface="+mn-cs"/>
        </a:defRPr>
      </a:lvl3pPr>
      <a:lvl4pPr marL="457200" marR="0" indent="-22860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 typeface="Wingdings" charset="2"/>
        <a:buChar char="§"/>
        <a:tabLst/>
        <a:defRPr sz="1600" kern="0">
          <a:solidFill>
            <a:schemeClr val="tx1"/>
          </a:solidFill>
          <a:latin typeface="+mj-lt"/>
          <a:ea typeface="+mn-ea"/>
          <a:cs typeface="+mn-cs"/>
        </a:defRPr>
      </a:lvl4pPr>
      <a:lvl5pPr marL="688975" marR="0" indent="-22860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 typeface="Wingdings" charset="2"/>
        <a:buChar char="§"/>
        <a:tabLst/>
        <a:defRPr sz="1600" kern="0">
          <a:solidFill>
            <a:schemeClr val="tx1"/>
          </a:solidFill>
          <a:latin typeface="+mj-lt"/>
          <a:ea typeface="+mn-ea"/>
          <a:cs typeface="+mn-cs"/>
        </a:defRPr>
      </a:lvl5pPr>
      <a:lvl6pPr marL="915988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6pPr>
      <a:lvl7pPr marL="1143000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7pPr>
      <a:lvl8pPr marL="1371600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8pPr>
      <a:lvl9pPr marL="1600200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5568">
          <p15:clr>
            <a:srgbClr val="A4A3A4"/>
          </p15:clr>
        </p15:guide>
        <p15:guide id="5" pos="192">
          <p15:clr>
            <a:srgbClr val="A4A3A4"/>
          </p15:clr>
        </p15:guide>
        <p15:guide id="25" pos="2784">
          <p15:clr>
            <a:srgbClr val="A4A3A4"/>
          </p15:clr>
        </p15:guide>
        <p15:guide id="26" pos="2976">
          <p15:clr>
            <a:srgbClr val="A4A3A4"/>
          </p15:clr>
        </p15:guide>
        <p15:guide id="31" orient="horz" pos="4032">
          <p15:clr>
            <a:srgbClr val="A4A3A4"/>
          </p15:clr>
        </p15:guide>
        <p15:guide id="36" orient="horz" pos="960">
          <p15:clr>
            <a:srgbClr val="A4A3A4"/>
          </p15:clr>
        </p15:guide>
        <p15:guide id="37" orient="horz" pos="1056">
          <p15:clr>
            <a:srgbClr val="A4A3A4"/>
          </p15:clr>
        </p15:guide>
        <p15:guide id="38" pos="96">
          <p15:clr>
            <a:srgbClr val="A4A3A4"/>
          </p15:clr>
        </p15:guide>
        <p15:guide id="39" pos="5664">
          <p15:clr>
            <a:srgbClr val="A4A3A4"/>
          </p15:clr>
        </p15:guide>
        <p15:guide id="40" orient="horz" pos="672">
          <p15:clr>
            <a:srgbClr val="A4A3A4"/>
          </p15:clr>
        </p15:guide>
        <p15:guide id="41" pos="1920">
          <p15:clr>
            <a:srgbClr val="A4A3A4"/>
          </p15:clr>
        </p15:guide>
        <p15:guide id="42" pos="2016">
          <p15:clr>
            <a:srgbClr val="A4A3A4"/>
          </p15:clr>
        </p15:guide>
        <p15:guide id="43" pos="3744">
          <p15:clr>
            <a:srgbClr val="A4A3A4"/>
          </p15:clr>
        </p15:guide>
        <p15:guide id="44" pos="3840">
          <p15:clr>
            <a:srgbClr val="A4A3A4"/>
          </p15:clr>
        </p15:guide>
        <p15:guide id="45" pos="288">
          <p15:clr>
            <a:srgbClr val="FFFFFF"/>
          </p15:clr>
        </p15:guide>
        <p15:guide id="46" pos="5472">
          <p15:clr>
            <a:srgbClr val="FFFFFF"/>
          </p15:clr>
        </p15:guide>
        <p15:guide id="47" orient="horz" pos="4224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8"/>
          <p:cNvSpPr>
            <a:spLocks noGrp="1"/>
          </p:cNvSpPr>
          <p:nvPr>
            <p:ph type="title"/>
          </p:nvPr>
        </p:nvSpPr>
        <p:spPr>
          <a:xfrm>
            <a:off x="304800" y="457200"/>
            <a:ext cx="8382000" cy="1066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676400"/>
            <a:ext cx="4114800" cy="472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0"/>
            <a:ext cx="457200" cy="304800"/>
          </a:xfrm>
          <a:prstGeom prst="rect">
            <a:avLst/>
          </a:prstGeom>
          <a:noFill/>
        </p:spPr>
        <p:txBody>
          <a:bodyPr vert="horz" lIns="0" tIns="0" rIns="155448" bIns="0" rtlCol="0" anchor="ctr">
            <a:noAutofit/>
          </a:bodyPr>
          <a:lstStyle>
            <a:lvl1pPr algn="r">
              <a:defRPr sz="9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fld id="{5F8EC74F-F43D-B546-84DB-988CF7340E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52400" y="6553201"/>
            <a:ext cx="1828800" cy="15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pPr algn="l">
              <a:defRPr/>
            </a:pPr>
            <a:r>
              <a:rPr lang="en-US" dirty="0">
                <a:ea typeface="Cambria" charset="0"/>
                <a:cs typeface="Cambria" charset="0"/>
              </a:rPr>
              <a:t>© </a:t>
            </a:r>
            <a:r>
              <a:rPr lang="en-US" kern="0" dirty="0">
                <a:ea typeface="Cambria" charset="0"/>
                <a:cs typeface="Cambria" charset="0"/>
              </a:rPr>
              <a:t>Euromonitor</a:t>
            </a:r>
            <a:r>
              <a:rPr lang="en-US" dirty="0"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601310" y="-86710"/>
            <a:ext cx="914400" cy="9144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99730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  <p:sldLayoutId id="2147484055" r:id="rId16"/>
    <p:sldLayoutId id="2147484056" r:id="rId17"/>
    <p:sldLayoutId id="2147484057" r:id="rId18"/>
    <p:sldLayoutId id="2147484058" r:id="rId19"/>
    <p:sldLayoutId id="2147484148" r:id="rId20"/>
    <p:sldLayoutId id="2147484149" r:id="rId21"/>
    <p:sldLayoutId id="2147484150" r:id="rId22"/>
    <p:sldLayoutId id="2147484151" r:id="rId23"/>
    <p:sldLayoutId id="2147484152" r:id="rId24"/>
    <p:sldLayoutId id="2147484153" r:id="rId25"/>
    <p:sldLayoutId id="2147484154" r:id="rId26"/>
    <p:sldLayoutId id="2147484155" r:id="rId27"/>
    <p:sldLayoutId id="2147484156" r:id="rId28"/>
    <p:sldLayoutId id="2147484157" r:id="rId29"/>
    <p:sldLayoutId id="2147484158" r:id="rId30"/>
    <p:sldLayoutId id="2147484159" r:id="rId31"/>
    <p:sldLayoutId id="2147484160" r:id="rId32"/>
    <p:sldLayoutId id="2147484161" r:id="rId33"/>
    <p:sldLayoutId id="2147484162" r:id="rId34"/>
    <p:sldLayoutId id="2147484163" r:id="rId35"/>
    <p:sldLayoutId id="2147484164" r:id="rId36"/>
    <p:sldLayoutId id="2147484165" r:id="rId37"/>
    <p:sldLayoutId id="2147484166" r:id="rId38"/>
    <p:sldLayoutId id="2147484167" r:id="rId39"/>
  </p:sldLayoutIdLst>
  <p:hf hdr="0" dt="0"/>
  <p:txStyles>
    <p:titleStyle>
      <a:lvl1pPr algn="ctr" defTabSz="914400" rtl="0" eaLnBrk="1" latinLnBrk="0" hangingPunct="1">
        <a:lnSpc>
          <a:spcPts val="2100"/>
        </a:lnSpc>
        <a:spcBef>
          <a:spcPct val="0"/>
        </a:spcBef>
        <a:buNone/>
        <a:defRPr sz="4400" kern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2860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 typeface="Wingdings" charset="2"/>
        <a:buNone/>
        <a:tabLst/>
        <a:defRPr lang="en-US" sz="1600" kern="0" baseline="0" dirty="0" smtClean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-22860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 typeface="Wingdings" charset="2"/>
        <a:buNone/>
        <a:tabLst/>
        <a:defRPr lang="en-US" sz="1600" kern="0" dirty="0" smtClean="0">
          <a:solidFill>
            <a:schemeClr val="accent3"/>
          </a:solidFill>
          <a:latin typeface="+mj-lt"/>
          <a:ea typeface="+mn-ea"/>
          <a:cs typeface="+mn-cs"/>
        </a:defRPr>
      </a:lvl2pPr>
      <a:lvl3pPr marL="228600" marR="0" indent="-22860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 typeface="Wingdings" charset="2"/>
        <a:buChar char="§"/>
        <a:tabLst/>
        <a:defRPr lang="en-US" sz="1600" kern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57200" marR="0" indent="-22860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 typeface="Wingdings" charset="2"/>
        <a:buChar char="§"/>
        <a:tabLst/>
        <a:defRPr lang="en-US" sz="1600" kern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85800" marR="0" indent="-22860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 typeface="Wingdings" charset="2"/>
        <a:buChar char="§"/>
        <a:tabLst/>
        <a:defRPr lang="en-US" sz="1600" kern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5568">
          <p15:clr>
            <a:srgbClr val="A4A3A4"/>
          </p15:clr>
        </p15:guide>
        <p15:guide id="5" pos="192">
          <p15:clr>
            <a:srgbClr val="A4A3A4"/>
          </p15:clr>
        </p15:guide>
        <p15:guide id="9" pos="288">
          <p15:clr>
            <a:srgbClr val="FFFFFF"/>
          </p15:clr>
        </p15:guide>
        <p15:guide id="18" pos="5472">
          <p15:clr>
            <a:srgbClr val="FFFFFF"/>
          </p15:clr>
        </p15:guide>
        <p15:guide id="20" pos="2016">
          <p15:clr>
            <a:srgbClr val="A4A3A4"/>
          </p15:clr>
        </p15:guide>
        <p15:guide id="21" pos="3744">
          <p15:clr>
            <a:srgbClr val="A4A3A4"/>
          </p15:clr>
        </p15:guide>
        <p15:guide id="22" pos="3840">
          <p15:clr>
            <a:srgbClr val="A4A3A4"/>
          </p15:clr>
        </p15:guide>
        <p15:guide id="25" pos="2784">
          <p15:clr>
            <a:srgbClr val="A4A3A4"/>
          </p15:clr>
        </p15:guide>
        <p15:guide id="26" pos="2976">
          <p15:clr>
            <a:srgbClr val="A4A3A4"/>
          </p15:clr>
        </p15:guide>
        <p15:guide id="31" orient="horz" pos="4032">
          <p15:clr>
            <a:srgbClr val="A4A3A4"/>
          </p15:clr>
        </p15:guide>
        <p15:guide id="37" orient="horz" pos="1056">
          <p15:clr>
            <a:srgbClr val="A4A3A4"/>
          </p15:clr>
        </p15:guide>
        <p15:guide id="44" pos="1920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52400" y="6589801"/>
            <a:ext cx="2830613" cy="1524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>
              <a:defRPr/>
            </a:pPr>
            <a:r>
              <a:rPr lang="en-US" sz="80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© </a:t>
            </a:r>
            <a:r>
              <a:rPr lang="en-US" sz="800" kern="0" err="1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Euromonitor</a:t>
            </a:r>
            <a:r>
              <a:rPr lang="en-US" sz="800">
                <a:solidFill>
                  <a:schemeClr val="bg2"/>
                </a:solidFill>
                <a:latin typeface="+mn-lt"/>
                <a:ea typeface="Cambria" charset="0"/>
                <a:cs typeface="Cambria" charset="0"/>
              </a:rPr>
              <a:t> International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0"/>
            <a:ext cx="9144000" cy="304800"/>
          </a:xfrm>
          <a:prstGeom prst="rect">
            <a:avLst/>
          </a:prstGeom>
          <a:gradFill>
            <a:gsLst>
              <a:gs pos="100000">
                <a:schemeClr val="accent3"/>
              </a:gs>
              <a:gs pos="5000">
                <a:schemeClr val="accent5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Title Placeholder 18"/>
          <p:cNvSpPr>
            <a:spLocks noGrp="1"/>
          </p:cNvSpPr>
          <p:nvPr>
            <p:ph type="title"/>
          </p:nvPr>
        </p:nvSpPr>
        <p:spPr>
          <a:xfrm>
            <a:off x="2133600" y="457200"/>
            <a:ext cx="4876800" cy="609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95706" y="6549104"/>
            <a:ext cx="1088145" cy="156524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4114800" y="1219200"/>
            <a:ext cx="914400" cy="822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8499764" y="0"/>
            <a:ext cx="644236" cy="3048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ctr">
            <a:noAutofit/>
          </a:bodyPr>
          <a:lstStyle/>
          <a:p>
            <a:pPr algn="r"/>
            <a:fld id="{5F8EC74F-F43D-B546-84DB-988CF7340E3A}" type="slidenum">
              <a:rPr lang="en-US" sz="900" smtClean="0"/>
              <a:pPr algn="r"/>
              <a:t>‹#›</a:t>
            </a:fld>
            <a:endParaRPr lang="en-US" sz="90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301752" y="1673352"/>
            <a:ext cx="8537448" cy="44988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1292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  <p:sldLayoutId id="2147484065" r:id="rId6"/>
    <p:sldLayoutId id="2147484066" r:id="rId7"/>
    <p:sldLayoutId id="2147484067" r:id="rId8"/>
    <p:sldLayoutId id="2147484068" r:id="rId9"/>
    <p:sldLayoutId id="2147484069" r:id="rId10"/>
    <p:sldLayoutId id="2147484070" r:id="rId11"/>
    <p:sldLayoutId id="2147484071" r:id="rId12"/>
    <p:sldLayoutId id="2147484072" r:id="rId13"/>
    <p:sldLayoutId id="2147484073" r:id="rId14"/>
    <p:sldLayoutId id="2147484074" r:id="rId15"/>
    <p:sldLayoutId id="2147484075" r:id="rId16"/>
    <p:sldLayoutId id="2147484076" r:id="rId17"/>
    <p:sldLayoutId id="2147484077" r:id="rId18"/>
    <p:sldLayoutId id="2147484078" r:id="rId19"/>
    <p:sldLayoutId id="2147484079" r:id="rId20"/>
    <p:sldLayoutId id="2147484080" r:id="rId21"/>
    <p:sldLayoutId id="2147484081" r:id="rId22"/>
    <p:sldLayoutId id="2147484082" r:id="rId23"/>
    <p:sldLayoutId id="2147484083" r:id="rId24"/>
    <p:sldLayoutId id="2147484084" r:id="rId25"/>
    <p:sldLayoutId id="2147484085" r:id="rId26"/>
    <p:sldLayoutId id="2147484086" r:id="rId27"/>
    <p:sldLayoutId id="2147484087" r:id="rId28"/>
    <p:sldLayoutId id="2147484088" r:id="rId29"/>
    <p:sldLayoutId id="2147484089" r:id="rId30"/>
    <p:sldLayoutId id="2147484090" r:id="rId31"/>
    <p:sldLayoutId id="2147484091" r:id="rId32"/>
    <p:sldLayoutId id="2147484092" r:id="rId33"/>
    <p:sldLayoutId id="2147484093" r:id="rId34"/>
    <p:sldLayoutId id="2147484094" r:id="rId35"/>
    <p:sldLayoutId id="2147484095" r:id="rId36"/>
    <p:sldLayoutId id="2147484096" r:id="rId37"/>
    <p:sldLayoutId id="2147484097" r:id="rId38"/>
    <p:sldLayoutId id="2147484098" r:id="rId39"/>
    <p:sldLayoutId id="2147484099" r:id="rId40"/>
    <p:sldLayoutId id="2147484147" r:id="rId41"/>
    <p:sldLayoutId id="2147484100" r:id="rId42"/>
    <p:sldLayoutId id="2147484101" r:id="rId43"/>
    <p:sldLayoutId id="2147484102" r:id="rId44"/>
    <p:sldLayoutId id="2147484103" r:id="rId45"/>
    <p:sldLayoutId id="2147484104" r:id="rId46"/>
    <p:sldLayoutId id="2147484105" r:id="rId47"/>
    <p:sldLayoutId id="2147484106" r:id="rId48"/>
    <p:sldLayoutId id="2147484184" r:id="rId49"/>
  </p:sldLayoutIdLst>
  <p:hf hdr="0" dt="0"/>
  <p:txStyles>
    <p:titleStyle>
      <a:lvl1pPr algn="ctr" defTabSz="914400" rtl="0" eaLnBrk="1" latinLnBrk="0" hangingPunct="1">
        <a:lnSpc>
          <a:spcPts val="2400"/>
        </a:lnSpc>
        <a:spcBef>
          <a:spcPct val="0"/>
        </a:spcBef>
        <a:buNone/>
        <a:defRPr sz="2100" kern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1000"/>
        </a:spcAft>
        <a:buClrTx/>
        <a:buSzPct val="100000"/>
        <a:buFont typeface="Wingdings" charset="2"/>
        <a:buNone/>
        <a:tabLst/>
        <a:defRPr lang="en-US" sz="1600" kern="0" baseline="0" smtClean="0">
          <a:solidFill>
            <a:schemeClr val="tx1"/>
          </a:solidFill>
          <a:latin typeface="+mj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Tx/>
        <a:buNone/>
        <a:tabLst/>
        <a:defRPr sz="1600" kern="0">
          <a:solidFill>
            <a:schemeClr val="accent3"/>
          </a:solidFill>
          <a:latin typeface="+mj-lt"/>
          <a:ea typeface="+mn-ea"/>
          <a:cs typeface="+mn-cs"/>
        </a:defRPr>
      </a:lvl2pPr>
      <a:lvl3pPr marL="228600" marR="0" indent="-22860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 typeface="Wingdings" charset="2"/>
        <a:buChar char="§"/>
        <a:tabLst/>
        <a:defRPr sz="1600" kern="0">
          <a:solidFill>
            <a:schemeClr val="tx1"/>
          </a:solidFill>
          <a:latin typeface="+mj-lt"/>
          <a:ea typeface="+mn-ea"/>
          <a:cs typeface="+mn-cs"/>
        </a:defRPr>
      </a:lvl3pPr>
      <a:lvl4pPr marL="457200" marR="0" indent="-22860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 typeface="Wingdings" charset="2"/>
        <a:buChar char="§"/>
        <a:tabLst/>
        <a:defRPr sz="1600" kern="0">
          <a:solidFill>
            <a:schemeClr val="tx1"/>
          </a:solidFill>
          <a:latin typeface="+mj-lt"/>
          <a:ea typeface="+mn-ea"/>
          <a:cs typeface="+mn-cs"/>
        </a:defRPr>
      </a:lvl4pPr>
      <a:lvl5pPr marL="688975" marR="0" indent="-228600" algn="l" defTabSz="914400" rtl="0" eaLnBrk="1" fontAlgn="auto" latinLnBrk="0" hangingPunct="1">
        <a:lnSpc>
          <a:spcPts val="2000"/>
        </a:lnSpc>
        <a:spcBef>
          <a:spcPts val="0"/>
        </a:spcBef>
        <a:spcAft>
          <a:spcPts val="600"/>
        </a:spcAft>
        <a:buClrTx/>
        <a:buSzPct val="100000"/>
        <a:buFont typeface="Wingdings" charset="2"/>
        <a:buChar char="§"/>
        <a:tabLst/>
        <a:defRPr sz="1600" kern="0">
          <a:solidFill>
            <a:schemeClr val="tx1"/>
          </a:solidFill>
          <a:latin typeface="+mj-lt"/>
          <a:ea typeface="+mn-ea"/>
          <a:cs typeface="+mn-cs"/>
        </a:defRPr>
      </a:lvl5pPr>
      <a:lvl6pPr marL="915988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6pPr>
      <a:lvl7pPr marL="1143000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7pPr>
      <a:lvl8pPr marL="1371600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8pPr>
      <a:lvl9pPr marL="1600200" indent="-228600" algn="l" defTabSz="914400" rtl="0" eaLnBrk="1" latinLnBrk="0" hangingPunct="1">
        <a:lnSpc>
          <a:spcPts val="2000"/>
        </a:lnSpc>
        <a:spcBef>
          <a:spcPts val="0"/>
        </a:spcBef>
        <a:spcAft>
          <a:spcPts val="600"/>
        </a:spcAft>
        <a:buFont typeface="Wingdings" charset="2"/>
        <a:buChar char="§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5568">
          <p15:clr>
            <a:srgbClr val="A4A3A4"/>
          </p15:clr>
        </p15:guide>
        <p15:guide id="5" pos="192">
          <p15:clr>
            <a:srgbClr val="A4A3A4"/>
          </p15:clr>
        </p15:guide>
        <p15:guide id="25" pos="2784">
          <p15:clr>
            <a:srgbClr val="A4A3A4"/>
          </p15:clr>
        </p15:guide>
        <p15:guide id="26" pos="2976">
          <p15:clr>
            <a:srgbClr val="A4A3A4"/>
          </p15:clr>
        </p15:guide>
        <p15:guide id="31" orient="horz" pos="4032">
          <p15:clr>
            <a:srgbClr val="A4A3A4"/>
          </p15:clr>
        </p15:guide>
        <p15:guide id="36" orient="horz" pos="960">
          <p15:clr>
            <a:srgbClr val="A4A3A4"/>
          </p15:clr>
        </p15:guide>
        <p15:guide id="37" orient="horz" pos="1056">
          <p15:clr>
            <a:srgbClr val="A4A3A4"/>
          </p15:clr>
        </p15:guide>
        <p15:guide id="38" pos="96">
          <p15:clr>
            <a:srgbClr val="A4A3A4"/>
          </p15:clr>
        </p15:guide>
        <p15:guide id="39" pos="5664">
          <p15:clr>
            <a:srgbClr val="A4A3A4"/>
          </p15:clr>
        </p15:guide>
        <p15:guide id="40" orient="horz" pos="672">
          <p15:clr>
            <a:srgbClr val="A4A3A4"/>
          </p15:clr>
        </p15:guide>
        <p15:guide id="41" pos="1920">
          <p15:clr>
            <a:srgbClr val="A4A3A4"/>
          </p15:clr>
        </p15:guide>
        <p15:guide id="42" pos="2016">
          <p15:clr>
            <a:srgbClr val="A4A3A4"/>
          </p15:clr>
        </p15:guide>
        <p15:guide id="43" pos="3744">
          <p15:clr>
            <a:srgbClr val="A4A3A4"/>
          </p15:clr>
        </p15:guide>
        <p15:guide id="44" pos="3840">
          <p15:clr>
            <a:srgbClr val="A4A3A4"/>
          </p15:clr>
        </p15:guide>
        <p15:guide id="45" pos="288">
          <p15:clr>
            <a:srgbClr val="FFFFFF"/>
          </p15:clr>
        </p15:guide>
        <p15:guide id="46" pos="5472">
          <p15:clr>
            <a:srgbClr val="FFFFFF"/>
          </p15:clr>
        </p15:guide>
        <p15:guide id="47" orient="horz" pos="4224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3048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7895843" y="6518653"/>
            <a:ext cx="1088136" cy="20929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13562" y="295589"/>
            <a:ext cx="6716877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100" b="0" i="0">
                <a:solidFill>
                  <a:srgbClr val="414141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1130" y="2474637"/>
            <a:ext cx="457073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1" i="0">
                <a:solidFill>
                  <a:srgbClr val="31607A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1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930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6" r:id="rId1"/>
    <p:sldLayoutId id="2147484177" r:id="rId2"/>
    <p:sldLayoutId id="2147484178" r:id="rId3"/>
    <p:sldLayoutId id="2147484179" r:id="rId4"/>
    <p:sldLayoutId id="2147484180" r:id="rId5"/>
    <p:sldLayoutId id="2147484181" r:id="rId6"/>
    <p:sldLayoutId id="2147484182" r:id="rId7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7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9" Type="http://schemas.openxmlformats.org/officeDocument/2006/relationships/image" Target="../media/image42.png"/><Relationship Id="rId21" Type="http://schemas.openxmlformats.org/officeDocument/2006/relationships/image" Target="../media/image24.png"/><Relationship Id="rId34" Type="http://schemas.openxmlformats.org/officeDocument/2006/relationships/image" Target="../media/image37.png"/><Relationship Id="rId42" Type="http://schemas.openxmlformats.org/officeDocument/2006/relationships/image" Target="../media/image45.png"/><Relationship Id="rId47" Type="http://schemas.openxmlformats.org/officeDocument/2006/relationships/image" Target="../media/image50.png"/><Relationship Id="rId50" Type="http://schemas.openxmlformats.org/officeDocument/2006/relationships/image" Target="../media/image53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9.png"/><Relationship Id="rId29" Type="http://schemas.openxmlformats.org/officeDocument/2006/relationships/image" Target="../media/image32.png"/><Relationship Id="rId11" Type="http://schemas.openxmlformats.org/officeDocument/2006/relationships/image" Target="../media/image14.png"/><Relationship Id="rId24" Type="http://schemas.openxmlformats.org/officeDocument/2006/relationships/image" Target="../media/image27.png"/><Relationship Id="rId32" Type="http://schemas.openxmlformats.org/officeDocument/2006/relationships/image" Target="../media/image35.png"/><Relationship Id="rId37" Type="http://schemas.openxmlformats.org/officeDocument/2006/relationships/image" Target="../media/image40.png"/><Relationship Id="rId40" Type="http://schemas.openxmlformats.org/officeDocument/2006/relationships/image" Target="../media/image43.png"/><Relationship Id="rId45" Type="http://schemas.openxmlformats.org/officeDocument/2006/relationships/image" Target="../media/image48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28" Type="http://schemas.openxmlformats.org/officeDocument/2006/relationships/image" Target="../media/image31.png"/><Relationship Id="rId36" Type="http://schemas.openxmlformats.org/officeDocument/2006/relationships/image" Target="../media/image39.png"/><Relationship Id="rId49" Type="http://schemas.openxmlformats.org/officeDocument/2006/relationships/image" Target="../media/image52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31" Type="http://schemas.openxmlformats.org/officeDocument/2006/relationships/image" Target="../media/image34.png"/><Relationship Id="rId44" Type="http://schemas.openxmlformats.org/officeDocument/2006/relationships/image" Target="../media/image47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png"/><Relationship Id="rId30" Type="http://schemas.openxmlformats.org/officeDocument/2006/relationships/image" Target="../media/image33.png"/><Relationship Id="rId35" Type="http://schemas.openxmlformats.org/officeDocument/2006/relationships/image" Target="../media/image38.png"/><Relationship Id="rId43" Type="http://schemas.openxmlformats.org/officeDocument/2006/relationships/image" Target="../media/image46.png"/><Relationship Id="rId48" Type="http://schemas.openxmlformats.org/officeDocument/2006/relationships/image" Target="../media/image51.png"/><Relationship Id="rId8" Type="http://schemas.openxmlformats.org/officeDocument/2006/relationships/image" Target="../media/image11.png"/><Relationship Id="rId51" Type="http://schemas.openxmlformats.org/officeDocument/2006/relationships/image" Target="../media/image54.png"/><Relationship Id="rId3" Type="http://schemas.openxmlformats.org/officeDocument/2006/relationships/image" Target="../media/image6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5" Type="http://schemas.openxmlformats.org/officeDocument/2006/relationships/image" Target="../media/image28.png"/><Relationship Id="rId33" Type="http://schemas.openxmlformats.org/officeDocument/2006/relationships/image" Target="../media/image36.png"/><Relationship Id="rId38" Type="http://schemas.openxmlformats.org/officeDocument/2006/relationships/image" Target="../media/image41.png"/><Relationship Id="rId46" Type="http://schemas.openxmlformats.org/officeDocument/2006/relationships/image" Target="../media/image49.png"/><Relationship Id="rId20" Type="http://schemas.openxmlformats.org/officeDocument/2006/relationships/image" Target="../media/image23.png"/><Relationship Id="rId41" Type="http://schemas.openxmlformats.org/officeDocument/2006/relationships/image" Target="../media/image44.png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2.xml"/><Relationship Id="rId4" Type="http://schemas.openxmlformats.org/officeDocument/2006/relationships/image" Target="../media/image5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49.xml"/><Relationship Id="rId4" Type="http://schemas.openxmlformats.org/officeDocument/2006/relationships/image" Target="../media/image5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9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7" Type="http://schemas.openxmlformats.org/officeDocument/2006/relationships/image" Target="../media/image68.png"/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145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9060180" y="718264"/>
            <a:ext cx="8382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srgbClr val="FFFFFF"/>
                </a:solidFill>
                <a:latin typeface="+mj-lt"/>
                <a:cs typeface="Carlito"/>
              </a:rPr>
              <a:t>3</a:t>
            </a:r>
            <a:endParaRPr sz="1400">
              <a:latin typeface="+mj-lt"/>
              <a:cs typeface="Carlito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2880274" y="506322"/>
            <a:ext cx="12359811" cy="361637"/>
          </a:xfrm>
          <a:prstGeom prst="rect">
            <a:avLst/>
          </a:prstGeom>
        </p:spPr>
        <p:txBody>
          <a:bodyPr vert="horz" wrap="square" lIns="0" tIns="12700" rIns="0" bIns="0" rtlCol="0" anchor="ctr" anchorCtr="0">
            <a:spAutoFit/>
          </a:bodyPr>
          <a:lstStyle/>
          <a:p>
            <a:pPr marL="1905" algn="l">
              <a:lnSpc>
                <a:spcPts val="2460"/>
              </a:lnSpc>
              <a:spcBef>
                <a:spcPts val="100"/>
              </a:spcBef>
            </a:pPr>
            <a:r>
              <a:rPr lang="en-GB" sz="2800" kern="1200" spc="-5" dirty="0">
                <a:latin typeface="+mj-lt"/>
                <a:ea typeface="+mn-ea"/>
              </a:rPr>
              <a:t>Euromonitor International </a:t>
            </a:r>
            <a:endParaRPr sz="2800" kern="1200" spc="-5" dirty="0">
              <a:latin typeface="+mj-lt"/>
              <a:ea typeface="+mn-e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57717" y="1288068"/>
            <a:ext cx="11771882" cy="2719334"/>
          </a:xfrm>
          <a:prstGeom prst="rect">
            <a:avLst/>
          </a:prstGeom>
        </p:spPr>
        <p:txBody>
          <a:bodyPr vert="horz" wrap="square" lIns="0" tIns="104775" rIns="0" bIns="0" rtlCol="0">
            <a:spAutoFit/>
          </a:bodyPr>
          <a:lstStyle/>
          <a:p>
            <a:pPr marL="12700">
              <a:spcBef>
                <a:spcPts val="825"/>
              </a:spcBef>
            </a:pPr>
            <a:r>
              <a:rPr sz="1600" b="1" dirty="0">
                <a:solidFill>
                  <a:srgbClr val="414141"/>
                </a:solidFill>
                <a:latin typeface="+mj-lt"/>
                <a:cs typeface="Carlito"/>
              </a:rPr>
              <a:t>About</a:t>
            </a:r>
            <a:r>
              <a:rPr sz="1600" b="1" spc="-35" dirty="0">
                <a:solidFill>
                  <a:srgbClr val="414141"/>
                </a:solidFill>
                <a:latin typeface="+mj-lt"/>
                <a:cs typeface="Carlito"/>
              </a:rPr>
              <a:t> </a:t>
            </a:r>
            <a:r>
              <a:rPr sz="1600" b="1" dirty="0">
                <a:solidFill>
                  <a:srgbClr val="414141"/>
                </a:solidFill>
                <a:latin typeface="+mj-lt"/>
                <a:cs typeface="Carlito"/>
              </a:rPr>
              <a:t>us</a:t>
            </a:r>
            <a:endParaRPr lang="en-GB" sz="1600" spc="-5" dirty="0">
              <a:solidFill>
                <a:srgbClr val="414141"/>
              </a:solidFill>
              <a:latin typeface="+mj-lt"/>
              <a:cs typeface="Carlito"/>
            </a:endParaRPr>
          </a:p>
          <a:p>
            <a:pPr marL="299085" indent="-287020">
              <a:spcBef>
                <a:spcPts val="62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en-GB" sz="1600" spc="-5" dirty="0">
                <a:solidFill>
                  <a:srgbClr val="414141"/>
                </a:solidFill>
                <a:latin typeface="+mj-lt"/>
                <a:cs typeface="Carlito"/>
              </a:rPr>
              <a:t>World leading strategic and tactical market research company for private sector, public sector and </a:t>
            </a:r>
          </a:p>
          <a:p>
            <a:pPr marL="12065">
              <a:spcBef>
                <a:spcPts val="620"/>
              </a:spcBef>
              <a:tabLst>
                <a:tab pos="299085" algn="l"/>
                <a:tab pos="299720" algn="l"/>
              </a:tabLst>
            </a:pPr>
            <a:r>
              <a:rPr lang="en-GB" sz="1600" spc="-5" dirty="0">
                <a:solidFill>
                  <a:srgbClr val="414141"/>
                </a:solidFill>
                <a:latin typeface="+mj-lt"/>
                <a:cs typeface="Carlito"/>
              </a:rPr>
              <a:t>       government and academic institutions</a:t>
            </a:r>
          </a:p>
          <a:p>
            <a:pPr marL="299085" indent="-287020">
              <a:spcBef>
                <a:spcPts val="62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600" spc="-5" dirty="0">
                <a:solidFill>
                  <a:srgbClr val="414141"/>
                </a:solidFill>
                <a:latin typeface="+mj-lt"/>
                <a:cs typeface="Carlito"/>
              </a:rPr>
              <a:t>Founded </a:t>
            </a:r>
            <a:r>
              <a:rPr lang="en-GB" sz="1600" spc="-5" dirty="0">
                <a:solidFill>
                  <a:srgbClr val="414141"/>
                </a:solidFill>
                <a:latin typeface="+mj-lt"/>
                <a:cs typeface="Carlito"/>
              </a:rPr>
              <a:t>in </a:t>
            </a:r>
            <a:r>
              <a:rPr sz="1600" dirty="0">
                <a:solidFill>
                  <a:srgbClr val="414141"/>
                </a:solidFill>
                <a:latin typeface="+mj-lt"/>
                <a:cs typeface="Carlito"/>
              </a:rPr>
              <a:t>1972, </a:t>
            </a:r>
            <a:r>
              <a:rPr sz="1600" spc="-5" dirty="0">
                <a:solidFill>
                  <a:srgbClr val="414141"/>
                </a:solidFill>
                <a:latin typeface="+mj-lt"/>
                <a:cs typeface="Carlito"/>
              </a:rPr>
              <a:t>Independent </a:t>
            </a:r>
            <a:r>
              <a:rPr sz="1600" dirty="0">
                <a:solidFill>
                  <a:srgbClr val="414141"/>
                </a:solidFill>
                <a:latin typeface="+mj-lt"/>
                <a:cs typeface="Carlito"/>
              </a:rPr>
              <a:t>and privately</a:t>
            </a:r>
            <a:r>
              <a:rPr sz="1600" spc="-114" dirty="0">
                <a:solidFill>
                  <a:srgbClr val="414141"/>
                </a:solidFill>
                <a:latin typeface="+mj-lt"/>
                <a:cs typeface="Carlito"/>
              </a:rPr>
              <a:t> </a:t>
            </a:r>
            <a:r>
              <a:rPr sz="1600" dirty="0">
                <a:solidFill>
                  <a:srgbClr val="414141"/>
                </a:solidFill>
                <a:latin typeface="+mj-lt"/>
                <a:cs typeface="Carlito"/>
              </a:rPr>
              <a:t>held</a:t>
            </a:r>
            <a:endParaRPr sz="1600" dirty="0">
              <a:latin typeface="+mj-lt"/>
              <a:cs typeface="Carlito"/>
            </a:endParaRPr>
          </a:p>
          <a:p>
            <a:pPr marL="299085" indent="-28702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600" spc="-5" dirty="0">
                <a:solidFill>
                  <a:srgbClr val="414141"/>
                </a:solidFill>
                <a:latin typeface="+mj-lt"/>
                <a:cs typeface="Carlito"/>
              </a:rPr>
              <a:t>HQ </a:t>
            </a:r>
            <a:r>
              <a:rPr sz="1600" dirty="0">
                <a:solidFill>
                  <a:srgbClr val="414141"/>
                </a:solidFill>
                <a:latin typeface="+mj-lt"/>
                <a:cs typeface="Carlito"/>
              </a:rPr>
              <a:t>in </a:t>
            </a:r>
            <a:r>
              <a:rPr sz="1600" spc="-5" dirty="0">
                <a:solidFill>
                  <a:srgbClr val="414141"/>
                </a:solidFill>
                <a:latin typeface="+mj-lt"/>
                <a:cs typeface="Carlito"/>
              </a:rPr>
              <a:t>London with </a:t>
            </a:r>
            <a:r>
              <a:rPr sz="1600" dirty="0">
                <a:solidFill>
                  <a:srgbClr val="414141"/>
                </a:solidFill>
                <a:latin typeface="+mj-lt"/>
                <a:cs typeface="Carlito"/>
              </a:rPr>
              <a:t>1,300+ staff based in 15 regional </a:t>
            </a:r>
            <a:r>
              <a:rPr sz="1600" spc="-5" dirty="0">
                <a:solidFill>
                  <a:srgbClr val="414141"/>
                </a:solidFill>
                <a:latin typeface="+mj-lt"/>
                <a:cs typeface="Carlito"/>
              </a:rPr>
              <a:t>offices </a:t>
            </a:r>
            <a:r>
              <a:rPr sz="1600" dirty="0">
                <a:solidFill>
                  <a:srgbClr val="414141"/>
                </a:solidFill>
                <a:latin typeface="+mj-lt"/>
                <a:cs typeface="Carlito"/>
              </a:rPr>
              <a:t>around the</a:t>
            </a:r>
            <a:r>
              <a:rPr sz="1600" spc="-85" dirty="0">
                <a:solidFill>
                  <a:srgbClr val="414141"/>
                </a:solidFill>
                <a:latin typeface="+mj-lt"/>
                <a:cs typeface="Carlito"/>
              </a:rPr>
              <a:t> </a:t>
            </a:r>
            <a:r>
              <a:rPr sz="1600" spc="-5" dirty="0">
                <a:solidFill>
                  <a:srgbClr val="414141"/>
                </a:solidFill>
                <a:latin typeface="+mj-lt"/>
                <a:cs typeface="Carlito"/>
              </a:rPr>
              <a:t>world</a:t>
            </a:r>
            <a:endParaRPr sz="1600" dirty="0">
              <a:latin typeface="+mj-lt"/>
              <a:cs typeface="Carlito"/>
            </a:endParaRPr>
          </a:p>
          <a:p>
            <a:pPr>
              <a:spcBef>
                <a:spcPts val="10"/>
              </a:spcBef>
              <a:buClr>
                <a:srgbClr val="414141"/>
              </a:buClr>
              <a:buFont typeface="Wingdings"/>
              <a:buChar char=""/>
            </a:pPr>
            <a:endParaRPr sz="1600" dirty="0">
              <a:latin typeface="+mj-lt"/>
              <a:cs typeface="Carlito"/>
            </a:endParaRPr>
          </a:p>
          <a:p>
            <a:pPr marL="12700"/>
            <a:r>
              <a:rPr sz="1600" b="1" dirty="0">
                <a:solidFill>
                  <a:srgbClr val="414141"/>
                </a:solidFill>
                <a:latin typeface="+mj-lt"/>
                <a:cs typeface="Carlito"/>
              </a:rPr>
              <a:t>Global</a:t>
            </a:r>
            <a:r>
              <a:rPr lang="en-GB" sz="1600" b="1" dirty="0">
                <a:solidFill>
                  <a:srgbClr val="414141"/>
                </a:solidFill>
                <a:latin typeface="+mj-lt"/>
                <a:cs typeface="Carlito"/>
              </a:rPr>
              <a:t> industry</a:t>
            </a:r>
            <a:r>
              <a:rPr sz="1600" b="1" spc="-30" dirty="0">
                <a:solidFill>
                  <a:srgbClr val="414141"/>
                </a:solidFill>
                <a:latin typeface="+mj-lt"/>
                <a:cs typeface="Carlito"/>
              </a:rPr>
              <a:t> </a:t>
            </a:r>
            <a:r>
              <a:rPr sz="1600" b="1" dirty="0">
                <a:solidFill>
                  <a:srgbClr val="414141"/>
                </a:solidFill>
                <a:latin typeface="+mj-lt"/>
                <a:cs typeface="Carlito"/>
              </a:rPr>
              <a:t>network</a:t>
            </a:r>
            <a:endParaRPr sz="1600" dirty="0">
              <a:latin typeface="+mj-lt"/>
              <a:cs typeface="Carlito"/>
            </a:endParaRPr>
          </a:p>
          <a:p>
            <a:pPr marL="299085" indent="-287020">
              <a:spcBef>
                <a:spcPts val="625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600" dirty="0">
                <a:solidFill>
                  <a:srgbClr val="414141"/>
                </a:solidFill>
                <a:latin typeface="+mj-lt"/>
                <a:cs typeface="Carlito"/>
              </a:rPr>
              <a:t>1,</a:t>
            </a:r>
            <a:r>
              <a:rPr lang="en-GB" sz="1600" dirty="0">
                <a:solidFill>
                  <a:srgbClr val="414141"/>
                </a:solidFill>
                <a:latin typeface="+mj-lt"/>
                <a:cs typeface="Carlito"/>
              </a:rPr>
              <a:t>0</a:t>
            </a:r>
            <a:r>
              <a:rPr sz="1600" dirty="0">
                <a:solidFill>
                  <a:srgbClr val="414141"/>
                </a:solidFill>
                <a:latin typeface="+mj-lt"/>
                <a:cs typeface="Carlito"/>
              </a:rPr>
              <a:t>00+ </a:t>
            </a:r>
            <a:r>
              <a:rPr sz="1600" spc="-5" dirty="0">
                <a:solidFill>
                  <a:srgbClr val="414141"/>
                </a:solidFill>
                <a:latin typeface="+mj-lt"/>
                <a:cs typeface="Carlito"/>
              </a:rPr>
              <a:t>on-the-ground researchers </a:t>
            </a:r>
            <a:r>
              <a:rPr sz="1600" dirty="0">
                <a:solidFill>
                  <a:srgbClr val="414141"/>
                </a:solidFill>
                <a:latin typeface="+mj-lt"/>
                <a:cs typeface="Carlito"/>
              </a:rPr>
              <a:t>based in</a:t>
            </a:r>
            <a:r>
              <a:rPr lang="en-GB" sz="1600" dirty="0">
                <a:solidFill>
                  <a:srgbClr val="414141"/>
                </a:solidFill>
                <a:latin typeface="+mj-lt"/>
                <a:cs typeface="Carlito"/>
              </a:rPr>
              <a:t> 100 </a:t>
            </a:r>
            <a:r>
              <a:rPr sz="1600" spc="-5" dirty="0">
                <a:solidFill>
                  <a:srgbClr val="414141"/>
                </a:solidFill>
                <a:latin typeface="+mj-lt"/>
                <a:cs typeface="Carlito"/>
              </a:rPr>
              <a:t>countries</a:t>
            </a:r>
            <a:endParaRPr sz="1600" dirty="0">
              <a:latin typeface="+mj-lt"/>
              <a:cs typeface="Carlito"/>
            </a:endParaRPr>
          </a:p>
          <a:p>
            <a:pPr>
              <a:spcBef>
                <a:spcPts val="55"/>
              </a:spcBef>
            </a:pPr>
            <a:endParaRPr sz="1600" dirty="0">
              <a:latin typeface="+mj-lt"/>
              <a:cs typeface="Carlito"/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795509AF-C428-22BC-E840-16F4CEA60C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3168" y="3728072"/>
            <a:ext cx="4983130" cy="3007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" name="Picture 316">
            <a:extLst>
              <a:ext uri="{FF2B5EF4-FFF2-40B4-BE49-F238E27FC236}">
                <a16:creationId xmlns:a16="http://schemas.microsoft.com/office/drawing/2014/main" id="{79D8C57B-5F35-3744-ADCF-9F7974DD14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262" y="4977573"/>
            <a:ext cx="182880" cy="182880"/>
          </a:xfrm>
          <a:prstGeom prst="rect">
            <a:avLst/>
          </a:prstGeom>
        </p:spPr>
      </p:pic>
      <p:sp>
        <p:nvSpPr>
          <p:cNvPr id="108" name="TextBox 107">
            <a:extLst>
              <a:ext uri="{FF2B5EF4-FFF2-40B4-BE49-F238E27FC236}">
                <a16:creationId xmlns:a16="http://schemas.microsoft.com/office/drawing/2014/main" id="{D2C34A10-A983-B043-806A-23CB48A7ACA8}"/>
              </a:ext>
            </a:extLst>
          </p:cNvPr>
          <p:cNvSpPr txBox="1"/>
          <p:nvPr/>
        </p:nvSpPr>
        <p:spPr>
          <a:xfrm>
            <a:off x="2032666" y="3023759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>
              <a:lnSpc>
                <a:spcPts val="1000"/>
              </a:lnSpc>
              <a:spcBef>
                <a:spcPct val="0"/>
              </a:spcBef>
              <a:defRPr/>
            </a:pP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Soft Drinks</a:t>
            </a:r>
          </a:p>
        </p:txBody>
      </p:sp>
      <p:pic>
        <p:nvPicPr>
          <p:cNvPr id="155" name="Picture 154">
            <a:extLst>
              <a:ext uri="{FF2B5EF4-FFF2-40B4-BE49-F238E27FC236}">
                <a16:creationId xmlns:a16="http://schemas.microsoft.com/office/drawing/2014/main" id="{3524B9AF-A2B7-D342-834F-FB9610095DA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991" y="3013962"/>
            <a:ext cx="182880" cy="1828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Research Expertise 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F3B5C75B-16F5-AA49-8D6B-FFD6A100013D}"/>
              </a:ext>
            </a:extLst>
          </p:cNvPr>
          <p:cNvSpPr txBox="1"/>
          <p:nvPr/>
        </p:nvSpPr>
        <p:spPr>
          <a:xfrm>
            <a:off x="573375" y="3295427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yewear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B13D33A-E0D7-824D-8666-DBAACFB05D0F}"/>
              </a:ext>
            </a:extLst>
          </p:cNvPr>
          <p:cNvSpPr txBox="1"/>
          <p:nvPr/>
        </p:nvSpPr>
        <p:spPr>
          <a:xfrm>
            <a:off x="2032666" y="2693196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t Drinks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07954CD2-3C36-4E47-9AD0-04914A138EA9}"/>
              </a:ext>
            </a:extLst>
          </p:cNvPr>
          <p:cNvSpPr txBox="1"/>
          <p:nvPr/>
        </p:nvSpPr>
        <p:spPr>
          <a:xfrm>
            <a:off x="573375" y="2958254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 Health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6F0C441-D074-EE4C-9B3F-CFB71BD43081}"/>
              </a:ext>
            </a:extLst>
          </p:cNvPr>
          <p:cNvSpPr txBox="1"/>
          <p:nvPr/>
        </p:nvSpPr>
        <p:spPr>
          <a:xfrm>
            <a:off x="573374" y="3637545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uxury Goods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C7228BB-9CD9-254D-8BDE-32A253C7115B}"/>
              </a:ext>
            </a:extLst>
          </p:cNvPr>
          <p:cNvSpPr txBox="1"/>
          <p:nvPr/>
        </p:nvSpPr>
        <p:spPr>
          <a:xfrm>
            <a:off x="573374" y="3966728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onal </a:t>
            </a:r>
            <a:b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orie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D260C10-79D3-5341-830D-B8AD353B913D}"/>
              </a:ext>
            </a:extLst>
          </p:cNvPr>
          <p:cNvSpPr txBox="1"/>
          <p:nvPr/>
        </p:nvSpPr>
        <p:spPr>
          <a:xfrm>
            <a:off x="2035283" y="3332715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>
              <a:lnSpc>
                <a:spcPts val="1000"/>
              </a:lnSpc>
              <a:spcBef>
                <a:spcPct val="0"/>
              </a:spcBef>
              <a:defRPr/>
            </a:pPr>
            <a:r>
              <a:rPr lang="en-US" sz="1100" kern="1100" dirty="0">
                <a:solidFill>
                  <a:srgbClr val="414141"/>
                </a:solidFill>
                <a:latin typeface="Calibri" panose="020F0502020204030204"/>
              </a:rPr>
              <a:t>Tobacco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5618A80C-CBFE-204A-AF24-CFB3724B9EA9}"/>
              </a:ext>
            </a:extLst>
          </p:cNvPr>
          <p:cNvSpPr txBox="1"/>
          <p:nvPr/>
        </p:nvSpPr>
        <p:spPr>
          <a:xfrm>
            <a:off x="244960" y="1676604"/>
            <a:ext cx="1368510" cy="31969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auty &amp; Fashion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8BD0B079-9100-E44C-AC40-8E7C70239DFD}"/>
              </a:ext>
            </a:extLst>
          </p:cNvPr>
          <p:cNvSpPr txBox="1"/>
          <p:nvPr/>
        </p:nvSpPr>
        <p:spPr>
          <a:xfrm>
            <a:off x="4614228" y="1667472"/>
            <a:ext cx="1283446" cy="330823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od &amp; Nutrition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AA35514E-9DD6-AB4A-A7C5-DF9DE42A6221}"/>
              </a:ext>
            </a:extLst>
          </p:cNvPr>
          <p:cNvSpPr txBox="1"/>
          <p:nvPr/>
        </p:nvSpPr>
        <p:spPr>
          <a:xfrm>
            <a:off x="6186162" y="1657236"/>
            <a:ext cx="1228798" cy="31969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&amp;Tech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794B64D-AD3C-9946-9644-CA45EBA9EB2B}"/>
              </a:ext>
            </a:extLst>
          </p:cNvPr>
          <p:cNvSpPr txBox="1"/>
          <p:nvPr/>
        </p:nvSpPr>
        <p:spPr>
          <a:xfrm>
            <a:off x="573375" y="2116894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arel and </a:t>
            </a:r>
            <a:endParaRPr kumimoji="0" lang="en-US" sz="1100" b="0" i="0" u="none" strike="noStrike" kern="11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otwear</a:t>
            </a:r>
            <a:endParaRPr kumimoji="0" lang="en-US" sz="1100" b="0" i="0" u="none" strike="noStrike" kern="11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FB06D893-21E0-474F-AED9-F2E57BB36AD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922" y="2139754"/>
            <a:ext cx="182880" cy="182880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BCC1075C-81C1-8C4A-9607-DD45A75EA0E3}"/>
              </a:ext>
            </a:extLst>
          </p:cNvPr>
          <p:cNvSpPr txBox="1"/>
          <p:nvPr/>
        </p:nvSpPr>
        <p:spPr>
          <a:xfrm>
            <a:off x="573374" y="2535153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auty and </a:t>
            </a:r>
            <a:b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onal Care</a:t>
            </a:r>
          </a:p>
        </p:txBody>
      </p:sp>
      <p:pic>
        <p:nvPicPr>
          <p:cNvPr id="138" name="Picture 137">
            <a:extLst>
              <a:ext uri="{FF2B5EF4-FFF2-40B4-BE49-F238E27FC236}">
                <a16:creationId xmlns:a16="http://schemas.microsoft.com/office/drawing/2014/main" id="{367E1759-AB85-064C-BB78-7BB3C9F86A3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922" y="2558511"/>
            <a:ext cx="182880" cy="182880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982DC63E-8CFE-7649-9A52-377CE7078BE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922" y="2981114"/>
            <a:ext cx="182880" cy="182880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3F722A65-4017-F94B-8386-84B7FB7A721F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922" y="3318287"/>
            <a:ext cx="182880" cy="182880"/>
          </a:xfrm>
          <a:prstGeom prst="rect">
            <a:avLst/>
          </a:prstGeom>
        </p:spPr>
      </p:pic>
      <p:pic>
        <p:nvPicPr>
          <p:cNvPr id="147" name="Picture 146">
            <a:extLst>
              <a:ext uri="{FF2B5EF4-FFF2-40B4-BE49-F238E27FC236}">
                <a16:creationId xmlns:a16="http://schemas.microsoft.com/office/drawing/2014/main" id="{55AABF84-1609-6942-B637-B97F3AE16F7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4798" y="2716056"/>
            <a:ext cx="182880" cy="182880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B78448BF-F0CA-1340-B901-65F4F1B22E2E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922" y="4017528"/>
            <a:ext cx="182880" cy="182880"/>
          </a:xfrm>
          <a:prstGeom prst="rect">
            <a:avLst/>
          </a:prstGeom>
        </p:spPr>
      </p:pic>
      <p:pic>
        <p:nvPicPr>
          <p:cNvPr id="159" name="Picture 158">
            <a:extLst>
              <a:ext uri="{FF2B5EF4-FFF2-40B4-BE49-F238E27FC236}">
                <a16:creationId xmlns:a16="http://schemas.microsoft.com/office/drawing/2014/main" id="{C9E1FD18-FE1F-2E42-992B-E2DA127DEEF3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4799" y="3328361"/>
            <a:ext cx="182880" cy="182880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DDE0BE5E-36A1-3043-B64D-C2235922DDA4}"/>
              </a:ext>
            </a:extLst>
          </p:cNvPr>
          <p:cNvSpPr txBox="1"/>
          <p:nvPr/>
        </p:nvSpPr>
        <p:spPr>
          <a:xfrm>
            <a:off x="2016001" y="2116894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1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coholic Drinks</a:t>
            </a:r>
          </a:p>
        </p:txBody>
      </p:sp>
      <p:pic>
        <p:nvPicPr>
          <p:cNvPr id="192" name="Picture 191">
            <a:extLst>
              <a:ext uri="{FF2B5EF4-FFF2-40B4-BE49-F238E27FC236}">
                <a16:creationId xmlns:a16="http://schemas.microsoft.com/office/drawing/2014/main" id="{BCA94618-B818-F746-B695-88E928BE8B22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3096" y="2123425"/>
            <a:ext cx="182880" cy="182880"/>
          </a:xfrm>
          <a:prstGeom prst="rect">
            <a:avLst/>
          </a:prstGeom>
        </p:spPr>
      </p:pic>
      <p:pic>
        <p:nvPicPr>
          <p:cNvPr id="193" name="Picture 192">
            <a:extLst>
              <a:ext uri="{FF2B5EF4-FFF2-40B4-BE49-F238E27FC236}">
                <a16:creationId xmlns:a16="http://schemas.microsoft.com/office/drawing/2014/main" id="{5926D79A-6E91-7F49-8E4C-AF3543326B62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922" y="3660405"/>
            <a:ext cx="182880" cy="182880"/>
          </a:xfrm>
          <a:prstGeom prst="rect">
            <a:avLst/>
          </a:prstGeom>
        </p:spPr>
      </p:pic>
      <p:sp>
        <p:nvSpPr>
          <p:cNvPr id="165" name="TextBox 164">
            <a:extLst>
              <a:ext uri="{FF2B5EF4-FFF2-40B4-BE49-F238E27FC236}">
                <a16:creationId xmlns:a16="http://schemas.microsoft.com/office/drawing/2014/main" id="{B2C5BDA7-4E17-2E43-BD53-670BB6EF1F66}"/>
              </a:ext>
            </a:extLst>
          </p:cNvPr>
          <p:cNvSpPr txBox="1"/>
          <p:nvPr/>
        </p:nvSpPr>
        <p:spPr>
          <a:xfrm>
            <a:off x="1765992" y="1689266"/>
            <a:ext cx="1361067" cy="31969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414141"/>
                </a:solidFill>
                <a:latin typeface="Calibri" panose="020F0502020204030204"/>
              </a:rPr>
              <a:t>Drinks &amp;Tobacco  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78E70273-2E49-E84B-B8A6-98E175ED4157}"/>
              </a:ext>
            </a:extLst>
          </p:cNvPr>
          <p:cNvSpPr txBox="1"/>
          <p:nvPr/>
        </p:nvSpPr>
        <p:spPr>
          <a:xfrm>
            <a:off x="3385415" y="1678605"/>
            <a:ext cx="1361067" cy="31969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onomies &amp;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s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A89A44DE-D2CA-144B-8D8A-FA871D739D62}"/>
              </a:ext>
            </a:extLst>
          </p:cNvPr>
          <p:cNvSpPr txBox="1"/>
          <p:nvPr/>
        </p:nvSpPr>
        <p:spPr>
          <a:xfrm>
            <a:off x="7487180" y="1678605"/>
            <a:ext cx="1343368" cy="31969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s &amp; </a:t>
            </a:r>
          </a:p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yments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54C13333-842F-7140-A6F9-6417B855C3A3}"/>
              </a:ext>
            </a:extLst>
          </p:cNvPr>
          <p:cNvSpPr txBox="1"/>
          <p:nvPr/>
        </p:nvSpPr>
        <p:spPr>
          <a:xfrm>
            <a:off x="3447183" y="2693196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Consumer</a:t>
            </a:r>
          </a:p>
        </p:txBody>
      </p:sp>
      <p:pic>
        <p:nvPicPr>
          <p:cNvPr id="210" name="Picture 209">
            <a:extLst>
              <a:ext uri="{FF2B5EF4-FFF2-40B4-BE49-F238E27FC236}">
                <a16:creationId xmlns:a16="http://schemas.microsoft.com/office/drawing/2014/main" id="{FEA94FA6-79A6-0C4F-9517-E7255A417C3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283" y="2716056"/>
            <a:ext cx="182880" cy="182880"/>
          </a:xfrm>
          <a:prstGeom prst="rect">
            <a:avLst/>
          </a:prstGeom>
        </p:spPr>
      </p:pic>
      <p:sp>
        <p:nvSpPr>
          <p:cNvPr id="211" name="TextBox 210">
            <a:extLst>
              <a:ext uri="{FF2B5EF4-FFF2-40B4-BE49-F238E27FC236}">
                <a16:creationId xmlns:a16="http://schemas.microsoft.com/office/drawing/2014/main" id="{E645A5FA-7C18-7D44-A733-9DAEAFEC7F6A}"/>
              </a:ext>
            </a:extLst>
          </p:cNvPr>
          <p:cNvSpPr txBox="1"/>
          <p:nvPr/>
        </p:nvSpPr>
        <p:spPr>
          <a:xfrm>
            <a:off x="3447183" y="2426587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ties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51F1946E-188A-6C4E-979F-6F3AFBB59C99}"/>
              </a:ext>
            </a:extLst>
          </p:cNvPr>
          <p:cNvSpPr txBox="1"/>
          <p:nvPr/>
        </p:nvSpPr>
        <p:spPr>
          <a:xfrm>
            <a:off x="3447183" y="3023759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onomy, Finance </a:t>
            </a:r>
            <a:b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Trade</a:t>
            </a:r>
          </a:p>
        </p:txBody>
      </p:sp>
      <p:pic>
        <p:nvPicPr>
          <p:cNvPr id="217" name="Picture 216">
            <a:extLst>
              <a:ext uri="{FF2B5EF4-FFF2-40B4-BE49-F238E27FC236}">
                <a16:creationId xmlns:a16="http://schemas.microsoft.com/office/drawing/2014/main" id="{530FC03F-C378-DD45-9901-795EF713DFDC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6533" y="2426587"/>
            <a:ext cx="182880" cy="182880"/>
          </a:xfrm>
          <a:prstGeom prst="rect">
            <a:avLst/>
          </a:prstGeom>
        </p:spPr>
      </p:pic>
      <p:pic>
        <p:nvPicPr>
          <p:cNvPr id="218" name="Picture 217">
            <a:extLst>
              <a:ext uri="{FF2B5EF4-FFF2-40B4-BE49-F238E27FC236}">
                <a16:creationId xmlns:a16="http://schemas.microsoft.com/office/drawing/2014/main" id="{6F15C762-2EBB-934B-BE02-B799D3565C6E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6533" y="3061602"/>
            <a:ext cx="182880" cy="182880"/>
          </a:xfrm>
          <a:prstGeom prst="rect">
            <a:avLst/>
          </a:prstGeom>
        </p:spPr>
      </p:pic>
      <p:sp>
        <p:nvSpPr>
          <p:cNvPr id="219" name="TextBox 218">
            <a:extLst>
              <a:ext uri="{FF2B5EF4-FFF2-40B4-BE49-F238E27FC236}">
                <a16:creationId xmlns:a16="http://schemas.microsoft.com/office/drawing/2014/main" id="{AE27013B-71D6-C14C-BCF5-C87F712401C2}"/>
              </a:ext>
            </a:extLst>
          </p:cNvPr>
          <p:cNvSpPr txBox="1"/>
          <p:nvPr/>
        </p:nvSpPr>
        <p:spPr>
          <a:xfrm>
            <a:off x="3447183" y="2116894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ness Dynamics</a:t>
            </a:r>
          </a:p>
        </p:txBody>
      </p:sp>
      <p:pic>
        <p:nvPicPr>
          <p:cNvPr id="220" name="Picture 219">
            <a:extLst>
              <a:ext uri="{FF2B5EF4-FFF2-40B4-BE49-F238E27FC236}">
                <a16:creationId xmlns:a16="http://schemas.microsoft.com/office/drawing/2014/main" id="{72A22A9E-55A2-AA42-9444-14E8A7B682E2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2535" y="2116894"/>
            <a:ext cx="182880" cy="182880"/>
          </a:xfrm>
          <a:prstGeom prst="rect">
            <a:avLst/>
          </a:prstGeom>
        </p:spPr>
      </p:pic>
      <p:sp>
        <p:nvSpPr>
          <p:cNvPr id="221" name="TextBox 220">
            <a:extLst>
              <a:ext uri="{FF2B5EF4-FFF2-40B4-BE49-F238E27FC236}">
                <a16:creationId xmlns:a16="http://schemas.microsoft.com/office/drawing/2014/main" id="{CB25052A-65C1-654D-AB23-511518A9BEDB}"/>
              </a:ext>
            </a:extLst>
          </p:cNvPr>
          <p:cNvSpPr txBox="1"/>
          <p:nvPr/>
        </p:nvSpPr>
        <p:spPr>
          <a:xfrm>
            <a:off x="3447183" y="3455846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useholds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342C4571-D27A-0242-9E88-AC339338E2B7}"/>
              </a:ext>
            </a:extLst>
          </p:cNvPr>
          <p:cNvSpPr txBox="1"/>
          <p:nvPr/>
        </p:nvSpPr>
        <p:spPr>
          <a:xfrm>
            <a:off x="3447183" y="3792698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R="0" lvl="0" indent="0" fontAlgn="auto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Income and </a:t>
            </a:r>
            <a:b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</a:b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Expenditure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A6A86A88-6101-6B48-9F75-5674543F786C}"/>
              </a:ext>
            </a:extLst>
          </p:cNvPr>
          <p:cNvSpPr txBox="1"/>
          <p:nvPr/>
        </p:nvSpPr>
        <p:spPr>
          <a:xfrm>
            <a:off x="3447183" y="4238740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ustrial</a:t>
            </a:r>
          </a:p>
        </p:txBody>
      </p:sp>
      <p:pic>
        <p:nvPicPr>
          <p:cNvPr id="225" name="Picture 224">
            <a:extLst>
              <a:ext uri="{FF2B5EF4-FFF2-40B4-BE49-F238E27FC236}">
                <a16:creationId xmlns:a16="http://schemas.microsoft.com/office/drawing/2014/main" id="{4539A4E3-3D40-844F-8209-84BAB23D4BD1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992" y="3455846"/>
            <a:ext cx="182880" cy="182880"/>
          </a:xfrm>
          <a:prstGeom prst="rect">
            <a:avLst/>
          </a:prstGeom>
        </p:spPr>
      </p:pic>
      <p:pic>
        <p:nvPicPr>
          <p:cNvPr id="226" name="Picture 225">
            <a:extLst>
              <a:ext uri="{FF2B5EF4-FFF2-40B4-BE49-F238E27FC236}">
                <a16:creationId xmlns:a16="http://schemas.microsoft.com/office/drawing/2014/main" id="{9BDE0F2D-B1C3-EC47-A8FA-5FBF7C045FA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992" y="4261600"/>
            <a:ext cx="182880" cy="182880"/>
          </a:xfrm>
          <a:prstGeom prst="rect">
            <a:avLst/>
          </a:prstGeom>
        </p:spPr>
      </p:pic>
      <p:pic>
        <p:nvPicPr>
          <p:cNvPr id="227" name="Picture 226">
            <a:extLst>
              <a:ext uri="{FF2B5EF4-FFF2-40B4-BE49-F238E27FC236}">
                <a16:creationId xmlns:a16="http://schemas.microsoft.com/office/drawing/2014/main" id="{3055937D-DCF6-B146-98EC-7B40AF652F8B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992" y="3848215"/>
            <a:ext cx="182880" cy="182880"/>
          </a:xfrm>
          <a:prstGeom prst="rect">
            <a:avLst/>
          </a:prstGeom>
        </p:spPr>
      </p:pic>
      <p:sp>
        <p:nvSpPr>
          <p:cNvPr id="242" name="TextBox 241">
            <a:extLst>
              <a:ext uri="{FF2B5EF4-FFF2-40B4-BE49-F238E27FC236}">
                <a16:creationId xmlns:a16="http://schemas.microsoft.com/office/drawing/2014/main" id="{D7A2CD5A-F1D2-C643-880C-AFA6FEE498F0}"/>
              </a:ext>
            </a:extLst>
          </p:cNvPr>
          <p:cNvSpPr txBox="1"/>
          <p:nvPr/>
        </p:nvSpPr>
        <p:spPr>
          <a:xfrm>
            <a:off x="6299578" y="2887053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 </a:t>
            </a: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ctronics</a:t>
            </a:r>
          </a:p>
        </p:txBody>
      </p:sp>
      <p:pic>
        <p:nvPicPr>
          <p:cNvPr id="243" name="Picture 242">
            <a:extLst>
              <a:ext uri="{FF2B5EF4-FFF2-40B4-BE49-F238E27FC236}">
                <a16:creationId xmlns:a16="http://schemas.microsoft.com/office/drawing/2014/main" id="{EE5C85D9-9CD6-2E42-823F-D1CCAA8872F3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3354" y="2926241"/>
            <a:ext cx="182880" cy="182880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2C2A9A35-F5F1-CC48-8DD2-1505B632D172}"/>
              </a:ext>
            </a:extLst>
          </p:cNvPr>
          <p:cNvSpPr txBox="1"/>
          <p:nvPr/>
        </p:nvSpPr>
        <p:spPr>
          <a:xfrm>
            <a:off x="6299578" y="2452278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 </a:t>
            </a:r>
            <a:b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ances</a:t>
            </a:r>
            <a:endParaRPr kumimoji="0" lang="en-US" sz="1100" b="0" i="0" u="none" strike="noStrike" kern="11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C010C4B4-28E3-8D48-831E-0C029AB3CD31}"/>
              </a:ext>
            </a:extLst>
          </p:cNvPr>
          <p:cNvSpPr txBox="1"/>
          <p:nvPr/>
        </p:nvSpPr>
        <p:spPr>
          <a:xfrm>
            <a:off x="6251921" y="3343799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 and Garden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2647EB48-7B8B-0940-B72D-F0F3F6B4247A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3354" y="2475138"/>
            <a:ext cx="182880" cy="182880"/>
          </a:xfrm>
          <a:prstGeom prst="rect">
            <a:avLst/>
          </a:prstGeom>
        </p:spPr>
      </p:pic>
      <p:pic>
        <p:nvPicPr>
          <p:cNvPr id="247" name="Picture 246">
            <a:extLst>
              <a:ext uri="{FF2B5EF4-FFF2-40B4-BE49-F238E27FC236}">
                <a16:creationId xmlns:a16="http://schemas.microsoft.com/office/drawing/2014/main" id="{6507E80A-15FF-AB4A-88DE-DF737F4AF68B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3354" y="3336811"/>
            <a:ext cx="182880" cy="182880"/>
          </a:xfrm>
          <a:prstGeom prst="rect">
            <a:avLst/>
          </a:prstGeom>
        </p:spPr>
      </p:pic>
      <p:sp>
        <p:nvSpPr>
          <p:cNvPr id="248" name="TextBox 247">
            <a:extLst>
              <a:ext uri="{FF2B5EF4-FFF2-40B4-BE49-F238E27FC236}">
                <a16:creationId xmlns:a16="http://schemas.microsoft.com/office/drawing/2014/main" id="{5B20E673-6DAB-F04F-8F27-CF36677226F2}"/>
              </a:ext>
            </a:extLst>
          </p:cNvPr>
          <p:cNvSpPr txBox="1"/>
          <p:nvPr/>
        </p:nvSpPr>
        <p:spPr>
          <a:xfrm>
            <a:off x="6299578" y="2084208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ity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2C18EBAE-6CFF-E146-BC32-F9C6AF2A9723}"/>
              </a:ext>
            </a:extLst>
          </p:cNvPr>
          <p:cNvSpPr txBox="1"/>
          <p:nvPr/>
        </p:nvSpPr>
        <p:spPr>
          <a:xfrm>
            <a:off x="6299578" y="3694613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 Care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97C4288E-EEFB-C84A-986A-B4A0138FF1A8}"/>
              </a:ext>
            </a:extLst>
          </p:cNvPr>
          <p:cNvSpPr txBox="1"/>
          <p:nvPr/>
        </p:nvSpPr>
        <p:spPr>
          <a:xfrm>
            <a:off x="6299578" y="4010706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ssue and Hygiene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43BCE6F4-CBFE-DE46-BC11-265B2464A60D}"/>
              </a:ext>
            </a:extLst>
          </p:cNvPr>
          <p:cNvSpPr txBox="1"/>
          <p:nvPr/>
        </p:nvSpPr>
        <p:spPr>
          <a:xfrm>
            <a:off x="6299578" y="4348979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ys and Games</a:t>
            </a:r>
          </a:p>
        </p:txBody>
      </p:sp>
      <p:pic>
        <p:nvPicPr>
          <p:cNvPr id="253" name="Picture 252">
            <a:extLst>
              <a:ext uri="{FF2B5EF4-FFF2-40B4-BE49-F238E27FC236}">
                <a16:creationId xmlns:a16="http://schemas.microsoft.com/office/drawing/2014/main" id="{8BEABB37-5E57-5D48-ABAF-1D3D813BD5A4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3354" y="3694613"/>
            <a:ext cx="182880" cy="182880"/>
          </a:xfrm>
          <a:prstGeom prst="rect">
            <a:avLst/>
          </a:prstGeom>
        </p:spPr>
      </p:pic>
      <p:pic>
        <p:nvPicPr>
          <p:cNvPr id="254" name="Picture 253">
            <a:extLst>
              <a:ext uri="{FF2B5EF4-FFF2-40B4-BE49-F238E27FC236}">
                <a16:creationId xmlns:a16="http://schemas.microsoft.com/office/drawing/2014/main" id="{AD8F4208-D38C-7440-A13B-2EF34AE90AC2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3354" y="4371839"/>
            <a:ext cx="182880" cy="182880"/>
          </a:xfrm>
          <a:prstGeom prst="rect">
            <a:avLst/>
          </a:prstGeom>
        </p:spPr>
      </p:pic>
      <p:pic>
        <p:nvPicPr>
          <p:cNvPr id="255" name="Picture 254">
            <a:extLst>
              <a:ext uri="{FF2B5EF4-FFF2-40B4-BE49-F238E27FC236}">
                <a16:creationId xmlns:a16="http://schemas.microsoft.com/office/drawing/2014/main" id="{26F59BFB-D936-F34C-89E0-C3E7BA4A5D4A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3354" y="4033566"/>
            <a:ext cx="182880" cy="182880"/>
          </a:xfrm>
          <a:prstGeom prst="rect">
            <a:avLst/>
          </a:prstGeom>
        </p:spPr>
      </p:pic>
      <p:sp>
        <p:nvSpPr>
          <p:cNvPr id="270" name="TextBox 269">
            <a:extLst>
              <a:ext uri="{FF2B5EF4-FFF2-40B4-BE49-F238E27FC236}">
                <a16:creationId xmlns:a16="http://schemas.microsoft.com/office/drawing/2014/main" id="{7417AE40-94F2-B544-AC94-018FD63B48F1}"/>
              </a:ext>
            </a:extLst>
          </p:cNvPr>
          <p:cNvSpPr txBox="1"/>
          <p:nvPr/>
        </p:nvSpPr>
        <p:spPr>
          <a:xfrm>
            <a:off x="3447183" y="4587856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>
              <a:lnSpc>
                <a:spcPts val="1000"/>
              </a:lnSpc>
              <a:spcBef>
                <a:spcPct val="0"/>
              </a:spcBef>
              <a:defRPr/>
            </a:pP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Lifestyles</a:t>
            </a:r>
          </a:p>
        </p:txBody>
      </p:sp>
      <p:pic>
        <p:nvPicPr>
          <p:cNvPr id="271" name="Picture 270">
            <a:extLst>
              <a:ext uri="{FF2B5EF4-FFF2-40B4-BE49-F238E27FC236}">
                <a16:creationId xmlns:a16="http://schemas.microsoft.com/office/drawing/2014/main" id="{A4EDD3EF-C9B0-3247-9E93-9EC4CEE602CD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992" y="4610716"/>
            <a:ext cx="182880" cy="182880"/>
          </a:xfrm>
          <a:prstGeom prst="rect">
            <a:avLst/>
          </a:prstGeom>
        </p:spPr>
      </p:pic>
      <p:sp>
        <p:nvSpPr>
          <p:cNvPr id="272" name="TextBox 271">
            <a:extLst>
              <a:ext uri="{FF2B5EF4-FFF2-40B4-BE49-F238E27FC236}">
                <a16:creationId xmlns:a16="http://schemas.microsoft.com/office/drawing/2014/main" id="{514B95A4-1D0A-FC4C-8FA3-CD95FB9A8EFC}"/>
              </a:ext>
            </a:extLst>
          </p:cNvPr>
          <p:cNvSpPr txBox="1"/>
          <p:nvPr/>
        </p:nvSpPr>
        <p:spPr>
          <a:xfrm>
            <a:off x="3447183" y="4913320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stainability</a:t>
            </a:r>
          </a:p>
        </p:txBody>
      </p:sp>
      <p:pic>
        <p:nvPicPr>
          <p:cNvPr id="273" name="Picture 272">
            <a:extLst>
              <a:ext uri="{FF2B5EF4-FFF2-40B4-BE49-F238E27FC236}">
                <a16:creationId xmlns:a16="http://schemas.microsoft.com/office/drawing/2014/main" id="{674CDC80-5FE3-704C-85BE-8C4F5A616927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992" y="4936180"/>
            <a:ext cx="182880" cy="182880"/>
          </a:xfrm>
          <a:prstGeom prst="rect">
            <a:avLst/>
          </a:prstGeom>
        </p:spPr>
      </p:pic>
      <p:sp>
        <p:nvSpPr>
          <p:cNvPr id="275" name="TextBox 274">
            <a:extLst>
              <a:ext uri="{FF2B5EF4-FFF2-40B4-BE49-F238E27FC236}">
                <a16:creationId xmlns:a16="http://schemas.microsoft.com/office/drawing/2014/main" id="{4EC2E60A-E9DF-5F49-BE32-ACC084CB090C}"/>
              </a:ext>
            </a:extLst>
          </p:cNvPr>
          <p:cNvSpPr txBox="1"/>
          <p:nvPr/>
        </p:nvSpPr>
        <p:spPr>
          <a:xfrm>
            <a:off x="3447183" y="5246129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tion</a:t>
            </a:r>
          </a:p>
        </p:txBody>
      </p:sp>
      <p:pic>
        <p:nvPicPr>
          <p:cNvPr id="276" name="Picture 275">
            <a:extLst>
              <a:ext uri="{FF2B5EF4-FFF2-40B4-BE49-F238E27FC236}">
                <a16:creationId xmlns:a16="http://schemas.microsoft.com/office/drawing/2014/main" id="{B2829AB5-540D-874E-A295-684CEB94BE55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992" y="5268989"/>
            <a:ext cx="182880" cy="182880"/>
          </a:xfrm>
          <a:prstGeom prst="rect">
            <a:avLst/>
          </a:prstGeom>
        </p:spPr>
      </p:pic>
      <p:sp>
        <p:nvSpPr>
          <p:cNvPr id="277" name="TextBox 276">
            <a:extLst>
              <a:ext uri="{FF2B5EF4-FFF2-40B4-BE49-F238E27FC236}">
                <a16:creationId xmlns:a16="http://schemas.microsoft.com/office/drawing/2014/main" id="{648CA6A6-093A-1644-BC4A-71225E505EE8}"/>
              </a:ext>
            </a:extLst>
          </p:cNvPr>
          <p:cNvSpPr txBox="1"/>
          <p:nvPr/>
        </p:nvSpPr>
        <p:spPr>
          <a:xfrm>
            <a:off x="7737988" y="2875370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3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ailing</a:t>
            </a:r>
          </a:p>
        </p:txBody>
      </p:sp>
      <p:pic>
        <p:nvPicPr>
          <p:cNvPr id="278" name="Picture 277">
            <a:extLst>
              <a:ext uri="{FF2B5EF4-FFF2-40B4-BE49-F238E27FC236}">
                <a16:creationId xmlns:a16="http://schemas.microsoft.com/office/drawing/2014/main" id="{CEC8A7FC-6FCB-6247-AFB6-F59EE7C18502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1764" y="2898230"/>
            <a:ext cx="182880" cy="182880"/>
          </a:xfrm>
          <a:prstGeom prst="rect">
            <a:avLst/>
          </a:prstGeom>
        </p:spPr>
      </p:pic>
      <p:sp>
        <p:nvSpPr>
          <p:cNvPr id="279" name="TextBox 278">
            <a:extLst>
              <a:ext uri="{FF2B5EF4-FFF2-40B4-BE49-F238E27FC236}">
                <a16:creationId xmlns:a16="http://schemas.microsoft.com/office/drawing/2014/main" id="{E0CC8EF7-AD72-134D-AE68-DD1469B8E364}"/>
              </a:ext>
            </a:extLst>
          </p:cNvPr>
          <p:cNvSpPr txBox="1"/>
          <p:nvPr/>
        </p:nvSpPr>
        <p:spPr>
          <a:xfrm>
            <a:off x="7733268" y="2452278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R="0" lvl="0" indent="0" fontAlgn="auto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Consumer </a:t>
            </a:r>
          </a:p>
          <a:p>
            <a:pPr marR="0" lvl="0" indent="0" fontAlgn="auto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Foodservice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FBD60ADA-A26D-A640-992B-417FB830439B}"/>
              </a:ext>
            </a:extLst>
          </p:cNvPr>
          <p:cNvSpPr txBox="1"/>
          <p:nvPr/>
        </p:nvSpPr>
        <p:spPr>
          <a:xfrm>
            <a:off x="7737988" y="3202877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3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orts</a:t>
            </a:r>
          </a:p>
        </p:txBody>
      </p:sp>
      <p:pic>
        <p:nvPicPr>
          <p:cNvPr id="281" name="Picture 280">
            <a:extLst>
              <a:ext uri="{FF2B5EF4-FFF2-40B4-BE49-F238E27FC236}">
                <a16:creationId xmlns:a16="http://schemas.microsoft.com/office/drawing/2014/main" id="{D3F2FCDF-4C97-D641-B93E-11DF95FE2ABF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1764" y="2505618"/>
            <a:ext cx="182880" cy="182880"/>
          </a:xfrm>
          <a:prstGeom prst="rect">
            <a:avLst/>
          </a:prstGeom>
        </p:spPr>
      </p:pic>
      <p:pic>
        <p:nvPicPr>
          <p:cNvPr id="282" name="Picture 281">
            <a:extLst>
              <a:ext uri="{FF2B5EF4-FFF2-40B4-BE49-F238E27FC236}">
                <a16:creationId xmlns:a16="http://schemas.microsoft.com/office/drawing/2014/main" id="{D3336923-C7AA-4641-B527-13454EF06C2D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1764" y="3225737"/>
            <a:ext cx="182880" cy="182880"/>
          </a:xfrm>
          <a:prstGeom prst="rect">
            <a:avLst/>
          </a:prstGeom>
        </p:spPr>
      </p:pic>
      <p:sp>
        <p:nvSpPr>
          <p:cNvPr id="283" name="TextBox 282">
            <a:extLst>
              <a:ext uri="{FF2B5EF4-FFF2-40B4-BE49-F238E27FC236}">
                <a16:creationId xmlns:a16="http://schemas.microsoft.com/office/drawing/2014/main" id="{FF360A37-877D-474C-A427-1EAC1B7D22E8}"/>
              </a:ext>
            </a:extLst>
          </p:cNvPr>
          <p:cNvSpPr txBox="1"/>
          <p:nvPr/>
        </p:nvSpPr>
        <p:spPr>
          <a:xfrm>
            <a:off x="7737988" y="2116894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3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 Finance</a:t>
            </a:r>
          </a:p>
        </p:txBody>
      </p:sp>
      <p:pic>
        <p:nvPicPr>
          <p:cNvPr id="284" name="Picture 283">
            <a:extLst>
              <a:ext uri="{FF2B5EF4-FFF2-40B4-BE49-F238E27FC236}">
                <a16:creationId xmlns:a16="http://schemas.microsoft.com/office/drawing/2014/main" id="{449C9FD4-2238-034D-90CD-3F67E1A15FC3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1764" y="2139754"/>
            <a:ext cx="182880" cy="182880"/>
          </a:xfrm>
          <a:prstGeom prst="rect">
            <a:avLst/>
          </a:prstGeom>
        </p:spPr>
      </p:pic>
      <p:sp>
        <p:nvSpPr>
          <p:cNvPr id="285" name="TextBox 284">
            <a:extLst>
              <a:ext uri="{FF2B5EF4-FFF2-40B4-BE49-F238E27FC236}">
                <a16:creationId xmlns:a16="http://schemas.microsoft.com/office/drawing/2014/main" id="{27CABFBA-B1E2-F748-BDBB-C40B9AD0C8E0}"/>
              </a:ext>
            </a:extLst>
          </p:cNvPr>
          <p:cNvSpPr txBox="1"/>
          <p:nvPr/>
        </p:nvSpPr>
        <p:spPr>
          <a:xfrm>
            <a:off x="7737988" y="3542349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3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vel</a:t>
            </a:r>
          </a:p>
        </p:txBody>
      </p:sp>
      <p:pic>
        <p:nvPicPr>
          <p:cNvPr id="288" name="Picture 287">
            <a:extLst>
              <a:ext uri="{FF2B5EF4-FFF2-40B4-BE49-F238E27FC236}">
                <a16:creationId xmlns:a16="http://schemas.microsoft.com/office/drawing/2014/main" id="{BEDED7D8-5A99-E94A-8824-15D415273697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1764" y="3565209"/>
            <a:ext cx="182880" cy="182880"/>
          </a:xfrm>
          <a:prstGeom prst="rect">
            <a:avLst/>
          </a:prstGeom>
        </p:spPr>
      </p:pic>
      <p:sp>
        <p:nvSpPr>
          <p:cNvPr id="297" name="TextBox 296">
            <a:extLst>
              <a:ext uri="{FF2B5EF4-FFF2-40B4-BE49-F238E27FC236}">
                <a16:creationId xmlns:a16="http://schemas.microsoft.com/office/drawing/2014/main" id="{9F6748BE-A8BD-494C-AF99-A36004C80E51}"/>
              </a:ext>
            </a:extLst>
          </p:cNvPr>
          <p:cNvSpPr txBox="1"/>
          <p:nvPr/>
        </p:nvSpPr>
        <p:spPr>
          <a:xfrm>
            <a:off x="330024" y="4625601"/>
            <a:ext cx="1283446" cy="21192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s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42348F67-6697-1C47-B251-24E0395908EA}"/>
              </a:ext>
            </a:extLst>
          </p:cNvPr>
          <p:cNvSpPr txBox="1"/>
          <p:nvPr/>
        </p:nvSpPr>
        <p:spPr>
          <a:xfrm>
            <a:off x="1993992" y="4019042"/>
            <a:ext cx="1228798" cy="21192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vey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F96E6391-1572-0146-A95B-B084B029229A}"/>
              </a:ext>
            </a:extLst>
          </p:cNvPr>
          <p:cNvSpPr txBox="1"/>
          <p:nvPr/>
        </p:nvSpPr>
        <p:spPr>
          <a:xfrm>
            <a:off x="576172" y="5366058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R="0" lvl="0" indent="0" fontAlgn="auto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Industry Forecast </a:t>
            </a:r>
            <a:b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</a:b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Models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B6D94946-3421-B54D-9A84-FD450C2F5870}"/>
              </a:ext>
            </a:extLst>
          </p:cNvPr>
          <p:cNvSpPr txBox="1"/>
          <p:nvPr/>
        </p:nvSpPr>
        <p:spPr>
          <a:xfrm>
            <a:off x="576172" y="4934393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etitor </a:t>
            </a:r>
            <a:endParaRPr kumimoji="0" lang="en-US" sz="1100" b="0" i="0" u="none" strike="noStrike" kern="1100" cap="none" spc="0" normalizeH="0" baseline="0" noProof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s</a:t>
            </a:r>
            <a:endParaRPr kumimoji="0" lang="en-US" sz="1100" b="0" i="0" u="none" strike="noStrike" kern="1100" cap="none" spc="0" normalizeH="0" baseline="0" noProof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1D5C05EF-6260-814D-BA73-4329A6951B46}"/>
              </a:ext>
            </a:extLst>
          </p:cNvPr>
          <p:cNvSpPr txBox="1"/>
          <p:nvPr/>
        </p:nvSpPr>
        <p:spPr>
          <a:xfrm>
            <a:off x="1990463" y="5777139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cotine Survey</a:t>
            </a:r>
          </a:p>
        </p:txBody>
      </p:sp>
      <p:pic>
        <p:nvPicPr>
          <p:cNvPr id="308" name="Picture 307">
            <a:extLst>
              <a:ext uri="{FF2B5EF4-FFF2-40B4-BE49-F238E27FC236}">
                <a16:creationId xmlns:a16="http://schemas.microsoft.com/office/drawing/2014/main" id="{2F088FB6-AF12-204F-A680-9A7C06F0C9A9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239" y="5801752"/>
            <a:ext cx="182880" cy="182880"/>
          </a:xfrm>
          <a:prstGeom prst="rect">
            <a:avLst/>
          </a:prstGeom>
        </p:spPr>
      </p:pic>
      <p:sp>
        <p:nvSpPr>
          <p:cNvPr id="309" name="TextBox 308">
            <a:extLst>
              <a:ext uri="{FF2B5EF4-FFF2-40B4-BE49-F238E27FC236}">
                <a16:creationId xmlns:a16="http://schemas.microsoft.com/office/drawing/2014/main" id="{DBAAAD10-89D1-E047-B00F-D79BB79F7BA1}"/>
              </a:ext>
            </a:extLst>
          </p:cNvPr>
          <p:cNvSpPr txBox="1"/>
          <p:nvPr/>
        </p:nvSpPr>
        <p:spPr>
          <a:xfrm>
            <a:off x="1990463" y="5524562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festyle Survey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11F7D127-417D-F440-8B29-D0A2CE13A363}"/>
              </a:ext>
            </a:extLst>
          </p:cNvPr>
          <p:cNvSpPr txBox="1"/>
          <p:nvPr/>
        </p:nvSpPr>
        <p:spPr>
          <a:xfrm>
            <a:off x="1981652" y="5177633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R="0" lvl="0" indent="0" fontAlgn="auto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Health and </a:t>
            </a:r>
          </a:p>
          <a:p>
            <a:pPr>
              <a:lnSpc>
                <a:spcPts val="1000"/>
              </a:lnSpc>
              <a:spcBef>
                <a:spcPct val="0"/>
              </a:spcBef>
              <a:defRPr/>
            </a:pP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Nutrition Survey</a:t>
            </a:r>
          </a:p>
        </p:txBody>
      </p:sp>
      <p:pic>
        <p:nvPicPr>
          <p:cNvPr id="311" name="Picture 310">
            <a:extLst>
              <a:ext uri="{FF2B5EF4-FFF2-40B4-BE49-F238E27FC236}">
                <a16:creationId xmlns:a16="http://schemas.microsoft.com/office/drawing/2014/main" id="{E24C8EF8-B4AF-7A46-952A-4150304D94E1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239" y="5547422"/>
            <a:ext cx="182880" cy="182880"/>
          </a:xfrm>
          <a:prstGeom prst="rect">
            <a:avLst/>
          </a:prstGeom>
        </p:spPr>
      </p:pic>
      <p:pic>
        <p:nvPicPr>
          <p:cNvPr id="312" name="Picture 311">
            <a:extLst>
              <a:ext uri="{FF2B5EF4-FFF2-40B4-BE49-F238E27FC236}">
                <a16:creationId xmlns:a16="http://schemas.microsoft.com/office/drawing/2014/main" id="{53EA8997-2D67-D544-ADB2-A0BA5B3DB050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25428" y="5245211"/>
            <a:ext cx="182880" cy="182880"/>
          </a:xfrm>
          <a:prstGeom prst="rect">
            <a:avLst/>
          </a:prstGeom>
        </p:spPr>
      </p:pic>
      <p:sp>
        <p:nvSpPr>
          <p:cNvPr id="313" name="TextBox 312">
            <a:extLst>
              <a:ext uri="{FF2B5EF4-FFF2-40B4-BE49-F238E27FC236}">
                <a16:creationId xmlns:a16="http://schemas.microsoft.com/office/drawing/2014/main" id="{C6F17B10-4A0E-C641-9780-3ADC6F625447}"/>
              </a:ext>
            </a:extLst>
          </p:cNvPr>
          <p:cNvSpPr txBox="1"/>
          <p:nvPr/>
        </p:nvSpPr>
        <p:spPr>
          <a:xfrm>
            <a:off x="1990463" y="4216276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auty Survey</a:t>
            </a:r>
          </a:p>
        </p:txBody>
      </p:sp>
      <p:pic>
        <p:nvPicPr>
          <p:cNvPr id="314" name="Picture 313">
            <a:extLst>
              <a:ext uri="{FF2B5EF4-FFF2-40B4-BE49-F238E27FC236}">
                <a16:creationId xmlns:a16="http://schemas.microsoft.com/office/drawing/2014/main" id="{4BB479B4-6849-6244-8AE7-A645BEDBEEF9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239" y="4239136"/>
            <a:ext cx="182880" cy="182880"/>
          </a:xfrm>
          <a:prstGeom prst="rect">
            <a:avLst/>
          </a:prstGeom>
        </p:spPr>
      </p:pic>
      <p:pic>
        <p:nvPicPr>
          <p:cNvPr id="318" name="Picture 317">
            <a:extLst>
              <a:ext uri="{FF2B5EF4-FFF2-40B4-BE49-F238E27FC236}">
                <a16:creationId xmlns:a16="http://schemas.microsoft.com/office/drawing/2014/main" id="{438773EA-6D26-DF4C-8EBC-6594F659B0B7}"/>
              </a:ext>
            </a:extLst>
          </p:cNvPr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712" y="5419398"/>
            <a:ext cx="182880" cy="182880"/>
          </a:xfrm>
          <a:prstGeom prst="rect">
            <a:avLst/>
          </a:prstGeom>
        </p:spPr>
      </p:pic>
      <p:sp>
        <p:nvSpPr>
          <p:cNvPr id="319" name="TextBox 318">
            <a:extLst>
              <a:ext uri="{FF2B5EF4-FFF2-40B4-BE49-F238E27FC236}">
                <a16:creationId xmlns:a16="http://schemas.microsoft.com/office/drawing/2014/main" id="{2DDD9CCA-83D0-3B45-8905-942E31DB2B30}"/>
              </a:ext>
            </a:extLst>
          </p:cNvPr>
          <p:cNvSpPr txBox="1"/>
          <p:nvPr/>
        </p:nvSpPr>
        <p:spPr>
          <a:xfrm>
            <a:off x="7888778" y="6037503"/>
            <a:ext cx="950422" cy="182880"/>
          </a:xfrm>
          <a:prstGeom prst="rect">
            <a:avLst/>
          </a:prstGeom>
          <a:noFill/>
        </p:spPr>
        <p:txBody>
          <a:bodyPr vert="horz"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100" cap="none" spc="0" normalizeH="0" baseline="0" noProof="0" dirty="0">
              <a:ln>
                <a:noFill/>
              </a:ln>
              <a:solidFill>
                <a:srgbClr val="FF9C1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8205C7A4-72B7-4486-9C96-E14956751C0F}"/>
              </a:ext>
            </a:extLst>
          </p:cNvPr>
          <p:cNvSpPr txBox="1"/>
          <p:nvPr/>
        </p:nvSpPr>
        <p:spPr>
          <a:xfrm>
            <a:off x="1994705" y="4825607"/>
            <a:ext cx="1097280" cy="32004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Consumer </a:t>
            </a:r>
            <a:endParaRPr kumimoji="0" lang="en-US" sz="1100" b="0" i="0" u="none" strike="noStrike" kern="1100" cap="none" spc="0" normalizeH="0" baseline="0" noProof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vey</a:t>
            </a:r>
            <a:endParaRPr kumimoji="0" lang="en-US" sz="1100" b="0" i="0" u="none" strike="noStrike" kern="1100" cap="none" spc="0" normalizeH="0" baseline="0" noProof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4AE80B31-9E1E-4E09-9E3E-2303F442CA23}"/>
              </a:ext>
            </a:extLst>
          </p:cNvPr>
          <p:cNvSpPr txBox="1"/>
          <p:nvPr/>
        </p:nvSpPr>
        <p:spPr>
          <a:xfrm>
            <a:off x="2037570" y="2426587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>
              <a:lnSpc>
                <a:spcPts val="1000"/>
              </a:lnSpc>
              <a:spcBef>
                <a:spcPct val="0"/>
              </a:spcBef>
              <a:defRPr/>
            </a:pP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Cannabis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C7AB93F4-9BF4-4B96-A968-18A5F194A53E}"/>
              </a:ext>
            </a:extLst>
          </p:cNvPr>
          <p:cNvSpPr txBox="1"/>
          <p:nvPr/>
        </p:nvSpPr>
        <p:spPr>
          <a:xfrm>
            <a:off x="1990463" y="6106837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ity System </a:t>
            </a:r>
            <a:endParaRPr kumimoji="0" lang="en-US" sz="1100" b="0" i="0" u="none" strike="noStrike" kern="1100" cap="none" spc="0" normalizeH="0" baseline="0" noProof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vey</a:t>
            </a:r>
            <a:endParaRPr kumimoji="0" lang="en-US" sz="1100" b="0" i="0" u="none" strike="noStrike" kern="1100" cap="none" spc="0" normalizeH="0" baseline="0" noProof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5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0D81CB15-AC60-40BC-B947-F269299B548A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785646" y="2426587"/>
            <a:ext cx="178167" cy="179615"/>
          </a:xfrm>
          <a:prstGeom prst="rect">
            <a:avLst/>
          </a:prstGeom>
        </p:spPr>
      </p:pic>
      <p:sp>
        <p:nvSpPr>
          <p:cNvPr id="228" name="TextBox 227">
            <a:extLst>
              <a:ext uri="{FF2B5EF4-FFF2-40B4-BE49-F238E27FC236}">
                <a16:creationId xmlns:a16="http://schemas.microsoft.com/office/drawing/2014/main" id="{90FA596C-23C9-C340-A85D-4B28991EF9BB}"/>
              </a:ext>
            </a:extLst>
          </p:cNvPr>
          <p:cNvSpPr txBox="1"/>
          <p:nvPr/>
        </p:nvSpPr>
        <p:spPr>
          <a:xfrm>
            <a:off x="4825394" y="3248390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lth &amp; Wellness</a:t>
            </a:r>
            <a:endParaRPr kumimoji="0" lang="en-US" sz="1100" b="0" i="0" u="none" strike="noStrike" kern="11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229" name="Picture 228">
            <a:extLst>
              <a:ext uri="{FF2B5EF4-FFF2-40B4-BE49-F238E27FC236}">
                <a16:creationId xmlns:a16="http://schemas.microsoft.com/office/drawing/2014/main" id="{EFB4E54A-F620-B74F-B680-395B6F76F0F8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5227" y="3271250"/>
            <a:ext cx="182880" cy="182880"/>
          </a:xfrm>
          <a:prstGeom prst="rect">
            <a:avLst/>
          </a:prstGeom>
        </p:spPr>
      </p:pic>
      <p:sp>
        <p:nvSpPr>
          <p:cNvPr id="230" name="TextBox 229">
            <a:extLst>
              <a:ext uri="{FF2B5EF4-FFF2-40B4-BE49-F238E27FC236}">
                <a16:creationId xmlns:a16="http://schemas.microsoft.com/office/drawing/2014/main" id="{824DFA5D-3DFB-5E4A-8B1C-FD9A641A1B81}"/>
              </a:ext>
            </a:extLst>
          </p:cNvPr>
          <p:cNvSpPr txBox="1"/>
          <p:nvPr/>
        </p:nvSpPr>
        <p:spPr>
          <a:xfrm>
            <a:off x="4825394" y="2897507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sh Food</a:t>
            </a:r>
            <a:endParaRPr kumimoji="0" lang="en-US" sz="1100" b="0" i="0" u="none" strike="noStrike" kern="11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232" name="Picture 231">
            <a:extLst>
              <a:ext uri="{FF2B5EF4-FFF2-40B4-BE49-F238E27FC236}">
                <a16:creationId xmlns:a16="http://schemas.microsoft.com/office/drawing/2014/main" id="{8D7E4A8A-1868-1644-974E-C65C4276D8C2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5227" y="2893153"/>
            <a:ext cx="182880" cy="182880"/>
          </a:xfrm>
          <a:prstGeom prst="rect">
            <a:avLst/>
          </a:prstGeom>
        </p:spPr>
      </p:pic>
      <p:sp>
        <p:nvSpPr>
          <p:cNvPr id="236" name="TextBox 235">
            <a:extLst>
              <a:ext uri="{FF2B5EF4-FFF2-40B4-BE49-F238E27FC236}">
                <a16:creationId xmlns:a16="http://schemas.microsoft.com/office/drawing/2014/main" id="{B4022ED8-E3F9-6B44-8C2B-13E73583D149}"/>
              </a:ext>
            </a:extLst>
          </p:cNvPr>
          <p:cNvSpPr txBox="1"/>
          <p:nvPr/>
        </p:nvSpPr>
        <p:spPr>
          <a:xfrm>
            <a:off x="4824184" y="3592554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trition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78BBEBE7-C029-5041-9E50-90DEEFD10372}"/>
              </a:ext>
            </a:extLst>
          </p:cNvPr>
          <p:cNvSpPr txBox="1"/>
          <p:nvPr/>
        </p:nvSpPr>
        <p:spPr>
          <a:xfrm>
            <a:off x="4824184" y="4031095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t Food</a:t>
            </a:r>
          </a:p>
        </p:txBody>
      </p:sp>
      <p:pic>
        <p:nvPicPr>
          <p:cNvPr id="239" name="Picture 238">
            <a:extLst>
              <a:ext uri="{FF2B5EF4-FFF2-40B4-BE49-F238E27FC236}">
                <a16:creationId xmlns:a16="http://schemas.microsoft.com/office/drawing/2014/main" id="{A13FBCC5-0579-9E43-A118-D7D192C43F9A}"/>
              </a:ext>
            </a:extLst>
          </p:cNvPr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5227" y="3615414"/>
            <a:ext cx="182880" cy="182880"/>
          </a:xfrm>
          <a:prstGeom prst="rect">
            <a:avLst/>
          </a:prstGeom>
        </p:spPr>
      </p:pic>
      <p:pic>
        <p:nvPicPr>
          <p:cNvPr id="292" name="Picture 291">
            <a:extLst>
              <a:ext uri="{FF2B5EF4-FFF2-40B4-BE49-F238E27FC236}">
                <a16:creationId xmlns:a16="http://schemas.microsoft.com/office/drawing/2014/main" id="{514071B9-B0B2-C14B-9E2E-2ECA9E56A1A1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86634" y="4066177"/>
            <a:ext cx="182880" cy="182880"/>
          </a:xfrm>
          <a:prstGeom prst="rect">
            <a:avLst/>
          </a:prstGeom>
        </p:spPr>
      </p:pic>
      <p:sp>
        <p:nvSpPr>
          <p:cNvPr id="117" name="TextBox 116">
            <a:extLst>
              <a:ext uri="{FF2B5EF4-FFF2-40B4-BE49-F238E27FC236}">
                <a16:creationId xmlns:a16="http://schemas.microsoft.com/office/drawing/2014/main" id="{51BF83B9-FF1D-4BC1-9D23-5829DCE9CF66}"/>
              </a:ext>
            </a:extLst>
          </p:cNvPr>
          <p:cNvSpPr txBox="1"/>
          <p:nvPr/>
        </p:nvSpPr>
        <p:spPr>
          <a:xfrm>
            <a:off x="4824184" y="4438153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>
              <a:lnSpc>
                <a:spcPts val="1000"/>
              </a:lnSpc>
              <a:spcBef>
                <a:spcPct val="0"/>
              </a:spcBef>
              <a:defRPr/>
            </a:pP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Product Claims and</a:t>
            </a:r>
          </a:p>
          <a:p>
            <a:pPr>
              <a:lnSpc>
                <a:spcPts val="1000"/>
              </a:lnSpc>
              <a:spcBef>
                <a:spcPct val="0"/>
              </a:spcBef>
              <a:defRPr/>
            </a:pPr>
            <a:r>
              <a:rPr lang="en-US" sz="1100" b="1" kern="1100" dirty="0">
                <a:solidFill>
                  <a:schemeClr val="accent3"/>
                </a:solidFill>
                <a:latin typeface="Calibri" panose="020F0502020204030204"/>
              </a:rPr>
              <a:t>Positioning</a:t>
            </a:r>
          </a:p>
        </p:txBody>
      </p:sp>
      <p:pic>
        <p:nvPicPr>
          <p:cNvPr id="6" name="Picture 6" descr="A picture containing sitting, computer, food&#10;&#10;Description automatically generated">
            <a:extLst>
              <a:ext uri="{FF2B5EF4-FFF2-40B4-BE49-F238E27FC236}">
                <a16:creationId xmlns:a16="http://schemas.microsoft.com/office/drawing/2014/main" id="{0D1BD078-2997-458B-89F5-0B3AD4BA721E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4578221" y="4479649"/>
            <a:ext cx="176892" cy="176892"/>
          </a:xfrm>
          <a:prstGeom prst="rect">
            <a:avLst/>
          </a:prstGeom>
        </p:spPr>
      </p:pic>
      <p:pic>
        <p:nvPicPr>
          <p:cNvPr id="7" name="Picture 7" descr="Icon&#10;&#10;Description automatically generated">
            <a:extLst>
              <a:ext uri="{FF2B5EF4-FFF2-40B4-BE49-F238E27FC236}">
                <a16:creationId xmlns:a16="http://schemas.microsoft.com/office/drawing/2014/main" id="{3D29971C-43AF-4072-A603-6FC2ED0975E1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043613" y="2132558"/>
            <a:ext cx="180250" cy="180250"/>
          </a:xfrm>
          <a:prstGeom prst="rect">
            <a:avLst/>
          </a:prstGeom>
        </p:spPr>
      </p:pic>
      <p:pic>
        <p:nvPicPr>
          <p:cNvPr id="116" name="Picture 7" descr="Icon&#10;&#10;Description automatically generated">
            <a:extLst>
              <a:ext uri="{FF2B5EF4-FFF2-40B4-BE49-F238E27FC236}">
                <a16:creationId xmlns:a16="http://schemas.microsoft.com/office/drawing/2014/main" id="{14F38B5F-5212-46AE-BB31-712E93BD0352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1746114" y="6108257"/>
            <a:ext cx="180250" cy="180250"/>
          </a:xfrm>
          <a:prstGeom prst="rect">
            <a:avLst/>
          </a:prstGeom>
        </p:spPr>
      </p:pic>
      <p:pic>
        <p:nvPicPr>
          <p:cNvPr id="8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A6D834D8-0BD7-4D84-926F-C86D0DEB5975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1725048" y="4865826"/>
            <a:ext cx="199763" cy="201387"/>
          </a:xfrm>
          <a:prstGeom prst="rect">
            <a:avLst/>
          </a:prstGeom>
        </p:spPr>
      </p:pic>
      <p:sp>
        <p:nvSpPr>
          <p:cNvPr id="114" name="TextBox 113">
            <a:extLst>
              <a:ext uri="{FF2B5EF4-FFF2-40B4-BE49-F238E27FC236}">
                <a16:creationId xmlns:a16="http://schemas.microsoft.com/office/drawing/2014/main" id="{A3161725-B044-42CE-B063-20863CE36942}"/>
              </a:ext>
            </a:extLst>
          </p:cNvPr>
          <p:cNvSpPr txBox="1"/>
          <p:nvPr/>
        </p:nvSpPr>
        <p:spPr>
          <a:xfrm>
            <a:off x="7656707" y="4249057"/>
            <a:ext cx="1343368" cy="18658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ly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0DC84F06-E7BB-4380-B385-1462D9ABA3AC}"/>
              </a:ext>
            </a:extLst>
          </p:cNvPr>
          <p:cNvSpPr txBox="1"/>
          <p:nvPr/>
        </p:nvSpPr>
        <p:spPr>
          <a:xfrm>
            <a:off x="7725811" y="4440533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gredients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D2D35B24-71F0-4D87-9676-A920E04FE4C9}"/>
              </a:ext>
            </a:extLst>
          </p:cNvPr>
          <p:cNvPicPr>
            <a:picLocks noChangeAspect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73827" y="4463393"/>
            <a:ext cx="182880" cy="182880"/>
          </a:xfrm>
          <a:prstGeom prst="rect">
            <a:avLst/>
          </a:prstGeom>
        </p:spPr>
      </p:pic>
      <p:sp>
        <p:nvSpPr>
          <p:cNvPr id="121" name="TextBox 120">
            <a:extLst>
              <a:ext uri="{FF2B5EF4-FFF2-40B4-BE49-F238E27FC236}">
                <a16:creationId xmlns:a16="http://schemas.microsoft.com/office/drawing/2014/main" id="{77554534-3F08-4B84-AB05-A5DDD66B087C}"/>
              </a:ext>
            </a:extLst>
          </p:cNvPr>
          <p:cNvSpPr txBox="1"/>
          <p:nvPr/>
        </p:nvSpPr>
        <p:spPr>
          <a:xfrm>
            <a:off x="7733062" y="4718098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kaging</a:t>
            </a:r>
          </a:p>
        </p:txBody>
      </p:sp>
      <p:pic>
        <p:nvPicPr>
          <p:cNvPr id="123" name="Picture 122">
            <a:extLst>
              <a:ext uri="{FF2B5EF4-FFF2-40B4-BE49-F238E27FC236}">
                <a16:creationId xmlns:a16="http://schemas.microsoft.com/office/drawing/2014/main" id="{E2791DD5-DAAA-4993-9B5C-809330BE2A0A}"/>
              </a:ext>
            </a:extLst>
          </p:cNvPr>
          <p:cNvPicPr>
            <a:picLocks noChangeAspect="1"/>
          </p:cNvPicPr>
          <p:nvPr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1764" y="4740958"/>
            <a:ext cx="182880" cy="182880"/>
          </a:xfrm>
          <a:prstGeom prst="rect">
            <a:avLst/>
          </a:prstGeom>
        </p:spPr>
      </p:pic>
      <p:sp>
        <p:nvSpPr>
          <p:cNvPr id="124" name="TextBox 123">
            <a:extLst>
              <a:ext uri="{FF2B5EF4-FFF2-40B4-BE49-F238E27FC236}">
                <a16:creationId xmlns:a16="http://schemas.microsoft.com/office/drawing/2014/main" id="{981E999B-D1BE-42BB-A80C-CAC4BAA608C1}"/>
              </a:ext>
            </a:extLst>
          </p:cNvPr>
          <p:cNvSpPr txBox="1"/>
          <p:nvPr/>
        </p:nvSpPr>
        <p:spPr>
          <a:xfrm>
            <a:off x="1979629" y="4544600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nabis Survey</a:t>
            </a:r>
            <a:endParaRPr kumimoji="0" lang="en-US" sz="1100" b="0" i="0" u="none" strike="noStrike" kern="1100" cap="none" spc="0" normalizeH="0" baseline="0" noProof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12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0FF21FDA-E8C6-47A9-A72B-70FAE136EE86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720641" y="4566734"/>
            <a:ext cx="178167" cy="1796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CEBEDF-0411-334B-B9EB-F0ED8AD7F2A6}"/>
              </a:ext>
            </a:extLst>
          </p:cNvPr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227" y="2116894"/>
            <a:ext cx="182880" cy="1828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E068F96-E2B9-FE42-B462-5B135F3429E3}"/>
              </a:ext>
            </a:extLst>
          </p:cNvPr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227" y="2507740"/>
            <a:ext cx="182880" cy="1828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5A70D51-3780-1A49-A6A3-47A33DCF0D08}"/>
              </a:ext>
            </a:extLst>
          </p:cNvPr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811" y="4884333"/>
            <a:ext cx="182880" cy="1828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D25CB5D-6211-7547-94D0-DB73B81E5852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3498" y="5312706"/>
            <a:ext cx="182880" cy="182880"/>
          </a:xfrm>
          <a:prstGeom prst="rect">
            <a:avLst/>
          </a:prstGeom>
        </p:spPr>
      </p:pic>
      <p:sp>
        <p:nvSpPr>
          <p:cNvPr id="128" name="TextBox 127">
            <a:extLst>
              <a:ext uri="{FF2B5EF4-FFF2-40B4-BE49-F238E27FC236}">
                <a16:creationId xmlns:a16="http://schemas.microsoft.com/office/drawing/2014/main" id="{700E5DDB-5B15-AD49-8606-DBDF25D11351}"/>
              </a:ext>
            </a:extLst>
          </p:cNvPr>
          <p:cNvSpPr txBox="1"/>
          <p:nvPr/>
        </p:nvSpPr>
        <p:spPr>
          <a:xfrm>
            <a:off x="4836106" y="2116894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oking Ingredients</a:t>
            </a:r>
            <a:b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Meals </a:t>
            </a:r>
            <a:endParaRPr kumimoji="0" lang="en-US" sz="1100" b="0" i="0" u="none" strike="noStrike" kern="11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0A105053-A49F-7C48-B0D9-49CB54E23C70}"/>
              </a:ext>
            </a:extLst>
          </p:cNvPr>
          <p:cNvSpPr txBox="1"/>
          <p:nvPr/>
        </p:nvSpPr>
        <p:spPr>
          <a:xfrm>
            <a:off x="4836106" y="2507740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ry Products</a:t>
            </a:r>
            <a:b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Alternatives </a:t>
            </a:r>
            <a:endParaRPr kumimoji="0" lang="en-US" sz="1100" b="0" i="0" u="none" strike="noStrike" kern="11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D761C5CF-02D2-B84F-B985-E288D97B4148}"/>
              </a:ext>
            </a:extLst>
          </p:cNvPr>
          <p:cNvSpPr txBox="1"/>
          <p:nvPr/>
        </p:nvSpPr>
        <p:spPr>
          <a:xfrm>
            <a:off x="4896921" y="4876720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nacks</a:t>
            </a:r>
            <a:endParaRPr kumimoji="0" lang="en-US" sz="1100" b="0" i="0" u="none" strike="noStrike" kern="11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3371DAF0-3FD1-994C-8F4A-65FC1FD62FDC}"/>
              </a:ext>
            </a:extLst>
          </p:cNvPr>
          <p:cNvSpPr txBox="1"/>
          <p:nvPr/>
        </p:nvSpPr>
        <p:spPr>
          <a:xfrm>
            <a:off x="4875438" y="5282233"/>
            <a:ext cx="1097280" cy="228600"/>
          </a:xfrm>
          <a:prstGeom prst="rect">
            <a:avLst/>
          </a:prstGeom>
          <a:noFill/>
        </p:spPr>
        <p:txBody>
          <a:bodyPr vert="horz" wrap="none" lIns="18288" tIns="18288" rIns="0" bIns="18288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1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ple Foods </a:t>
            </a:r>
            <a:endParaRPr kumimoji="0" lang="en-US" sz="1100" b="0" i="0" u="none" strike="noStrike" kern="11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589726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319" y="457200"/>
            <a:ext cx="9192872" cy="609600"/>
          </a:xfrm>
        </p:spPr>
        <p:txBody>
          <a:bodyPr/>
          <a:lstStyle/>
          <a:p>
            <a:r>
              <a:rPr lang="en-US" sz="2800" dirty="0"/>
              <a:t>Up to 100 In-Country Research </a:t>
            </a:r>
            <a:r>
              <a:rPr lang="en-US" sz="2800" dirty="0" err="1"/>
              <a:t>Programmes</a:t>
            </a:r>
            <a:endParaRPr lang="en-US" sz="2800" dirty="0"/>
          </a:p>
        </p:txBody>
      </p:sp>
      <p:sp>
        <p:nvSpPr>
          <p:cNvPr id="4" name="Content Placeholder 47"/>
          <p:cNvSpPr txBox="1">
            <a:spLocks/>
          </p:cNvSpPr>
          <p:nvPr/>
        </p:nvSpPr>
        <p:spPr>
          <a:xfrm>
            <a:off x="7444153" y="1531749"/>
            <a:ext cx="1132131" cy="498919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None/>
              <a:tabLst/>
              <a:defRPr lang="en-US" sz="1300" kern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 sz="1300" ker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2pPr>
            <a:lvl3pPr marL="228600" marR="0" indent="-2286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marR="0" indent="-2286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8975" marR="0" indent="-2286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5988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b="1" dirty="0">
                <a:latin typeface="+mj-lt"/>
              </a:rPr>
              <a:t>Western Europe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Austr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Belgium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Denmark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Finland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France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Germany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Greece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Ireland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Italy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Netherlands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Norway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Portugal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Spain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Sweden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Switzerland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Turkey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United Kingdom</a:t>
            </a:r>
          </a:p>
        </p:txBody>
      </p:sp>
      <p:sp>
        <p:nvSpPr>
          <p:cNvPr id="5" name="Content Placeholder 48"/>
          <p:cNvSpPr txBox="1">
            <a:spLocks/>
          </p:cNvSpPr>
          <p:nvPr/>
        </p:nvSpPr>
        <p:spPr>
          <a:xfrm>
            <a:off x="3970212" y="1531749"/>
            <a:ext cx="1438031" cy="498919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None/>
              <a:tabLst/>
              <a:defRPr lang="en-US" sz="1300" kern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 sz="1300" ker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2pPr>
            <a:lvl3pPr marL="228600" marR="0" indent="-2286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marR="0" indent="-2286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8975" marR="0" indent="-2286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5988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b="1" dirty="0">
                <a:latin typeface="+mj-lt"/>
              </a:rPr>
              <a:t>Australas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Austral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New Zealand</a:t>
            </a:r>
          </a:p>
          <a:p>
            <a:pPr>
              <a:spcAft>
                <a:spcPts val="0"/>
              </a:spcAft>
            </a:pPr>
            <a:endParaRPr lang="en-US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b="1" dirty="0">
                <a:latin typeface="+mj-lt"/>
              </a:rPr>
              <a:t>Eastern Europe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Belarus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Bosnia-Herzegovin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Bulgar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Croat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Czech Republic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Eston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Georg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Hungary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Latv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Lithuan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Macedon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Poland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Roman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i="1" dirty="0">
                <a:latin typeface="+mj-lt"/>
              </a:rPr>
              <a:t>Russ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Serb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Slovak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dirty="0">
                <a:latin typeface="+mj-lt"/>
              </a:rPr>
              <a:t>Slovenia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i="1" dirty="0">
                <a:latin typeface="+mj-lt"/>
              </a:rPr>
              <a:t>Ukraine</a:t>
            </a:r>
          </a:p>
          <a:p>
            <a:pPr>
              <a:lnSpc>
                <a:spcPts val="1500"/>
              </a:lnSpc>
              <a:spcAft>
                <a:spcPts val="0"/>
              </a:spcAft>
            </a:pPr>
            <a:endParaRPr lang="en-US" dirty="0">
              <a:latin typeface="+mj-lt"/>
            </a:endParaRPr>
          </a:p>
        </p:txBody>
      </p:sp>
      <p:sp>
        <p:nvSpPr>
          <p:cNvPr id="6" name="Content Placeholder 47"/>
          <p:cNvSpPr txBox="1">
            <a:spLocks/>
          </p:cNvSpPr>
          <p:nvPr/>
        </p:nvSpPr>
        <p:spPr>
          <a:xfrm>
            <a:off x="620319" y="1531749"/>
            <a:ext cx="1548384" cy="498919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None/>
              <a:tabLst/>
              <a:defRPr lang="en-US" sz="1300" kern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 sz="1300" ker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2pPr>
            <a:lvl3pPr marL="228600" marR="0" indent="-2286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marR="0" indent="-2286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8975" marR="0" indent="-2286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5988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228600" algn="l" defTabSz="914400" rtl="0" eaLnBrk="1" latinLnBrk="0" hangingPunct="1">
              <a:lnSpc>
                <a:spcPts val="1600"/>
              </a:lnSpc>
              <a:spcBef>
                <a:spcPct val="20000"/>
              </a:spcBef>
              <a:spcAft>
                <a:spcPts val="600"/>
              </a:spcAft>
              <a:buFont typeface="Wingdings" charset="2"/>
              <a:buChar char="§"/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  <a:spcAft>
                <a:spcPts val="0"/>
              </a:spcAft>
            </a:pPr>
            <a:r>
              <a:rPr lang="en-US" b="1" dirty="0">
                <a:latin typeface="+mj-lt"/>
              </a:rPr>
              <a:t>Africa and the </a:t>
            </a:r>
            <a:br>
              <a:rPr lang="en-US" b="1" dirty="0">
                <a:latin typeface="+mj-lt"/>
              </a:rPr>
            </a:br>
            <a:r>
              <a:rPr lang="en-US" b="1" dirty="0">
                <a:latin typeface="+mj-lt"/>
              </a:rPr>
              <a:t>Middle East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latin typeface="+mj-lt"/>
              </a:rPr>
              <a:t>Algeria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Angola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latin typeface="+mj-lt"/>
              </a:rPr>
              <a:t>Cameroon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Côte d'Ivoire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latin typeface="+mj-lt"/>
              </a:rPr>
              <a:t>Egypt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Ethiopia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Ghana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Iraq 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latin typeface="+mj-lt"/>
              </a:rPr>
              <a:t>Israel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Jordan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latin typeface="+mj-lt"/>
              </a:rPr>
              <a:t>Kenya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Kuwait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Lebanon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latin typeface="+mj-lt"/>
              </a:rPr>
              <a:t>Morocco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latin typeface="+mj-lt"/>
              </a:rPr>
              <a:t>Nigeria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Oman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Qatar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latin typeface="+mj-lt"/>
              </a:rPr>
              <a:t>Saudi Arabia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latin typeface="+mj-lt"/>
              </a:rPr>
              <a:t>South Africa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Tanzania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latin typeface="+mj-lt"/>
              </a:rPr>
              <a:t>Tunisia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Uganda</a:t>
            </a:r>
          </a:p>
          <a:p>
            <a:pPr>
              <a:lnSpc>
                <a:spcPts val="1500"/>
              </a:lnSpc>
              <a:spcAft>
                <a:spcPts val="0"/>
              </a:spcAft>
              <a:buClr>
                <a:srgbClr val="77787B"/>
              </a:buClr>
            </a:pPr>
            <a:r>
              <a:rPr lang="en-US" dirty="0">
                <a:latin typeface="+mj-lt"/>
              </a:rPr>
              <a:t>United Arab Emirates</a:t>
            </a:r>
          </a:p>
        </p:txBody>
      </p:sp>
      <p:sp>
        <p:nvSpPr>
          <p:cNvPr id="7" name="Content Placeholder 47"/>
          <p:cNvSpPr txBox="1">
            <a:spLocks/>
          </p:cNvSpPr>
          <p:nvPr/>
        </p:nvSpPr>
        <p:spPr>
          <a:xfrm>
            <a:off x="2289910" y="1531749"/>
            <a:ext cx="1312985" cy="4989195"/>
          </a:xfrm>
          <a:prstGeom prst="rect">
            <a:avLst/>
          </a:prstGeom>
        </p:spPr>
        <p:txBody>
          <a:bodyPr vert="horz" lIns="0" tIns="0" rIns="0" bIns="0" spcCol="274320" rtlCol="0" anchor="t">
            <a:noAutofit/>
          </a:bodyPr>
          <a:lstStyle>
            <a:lvl1pPr marL="91440" marR="0" indent="-109728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Char char="§"/>
              <a:tabLst/>
              <a:defRPr sz="13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marR="0" indent="-109728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marR="0" indent="-109728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080" marR="0" indent="-109728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marR="0" indent="-109728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b="1" dirty="0">
                <a:latin typeface="+mj-lt"/>
              </a:rPr>
              <a:t>Asia Pacific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Azerbaijan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Bangladesh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Cambodi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Chin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Hong Kong, Chin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Indi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Indonesi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Japan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Kazakhstan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Laos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Malaysi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Myanmar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Pakistan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Philippines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Singapore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South Kore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Sri Lank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Taiwan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Thailand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Uzbekistan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dirty="0">
                <a:latin typeface="+mj-lt"/>
              </a:rPr>
              <a:t>Vietnam</a:t>
            </a:r>
          </a:p>
        </p:txBody>
      </p:sp>
      <p:sp>
        <p:nvSpPr>
          <p:cNvPr id="8" name="Content Placeholder 47"/>
          <p:cNvSpPr txBox="1">
            <a:spLocks/>
          </p:cNvSpPr>
          <p:nvPr/>
        </p:nvSpPr>
        <p:spPr>
          <a:xfrm>
            <a:off x="5732583" y="1531749"/>
            <a:ext cx="1387230" cy="5141594"/>
          </a:xfrm>
          <a:prstGeom prst="rect">
            <a:avLst/>
          </a:prstGeom>
        </p:spPr>
        <p:txBody>
          <a:bodyPr vert="horz" lIns="0" tIns="0" rIns="0" bIns="0" spcCol="274320" rtlCol="0" anchor="t">
            <a:noAutofit/>
          </a:bodyPr>
          <a:lstStyle>
            <a:lvl1pPr marL="91440" marR="0" indent="-109728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Char char="§"/>
              <a:tabLst/>
              <a:defRPr sz="13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4320" marR="0" indent="-109728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marR="0" indent="-109728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080" marR="0" indent="-109728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2960" marR="0" indent="-109728" algn="l" defTabSz="914400" rtl="0" eaLnBrk="1" fontAlgn="auto" latinLnBrk="0" hangingPunct="1">
              <a:lnSpc>
                <a:spcPts val="1600"/>
              </a:lnSpc>
              <a:spcBef>
                <a:spcPts val="150"/>
              </a:spcBef>
              <a:spcAft>
                <a:spcPts val="150"/>
              </a:spcAft>
              <a:buClr>
                <a:srgbClr val="77787B"/>
              </a:buClr>
              <a:buSzPct val="100000"/>
              <a:buFont typeface="Wingdings" pitchFamily="2" charset="2"/>
              <a:buChar char="§"/>
              <a:tabLst/>
              <a:defRPr sz="13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b="1" dirty="0">
                <a:latin typeface="+mj-lt"/>
              </a:rPr>
              <a:t>Latin Americ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Argentin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Bolivi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Brazil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Chile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Colombi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Costa Ric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Dominican Republic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Ecuador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El Salvador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Guatemal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Honduras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Mexico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Panam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accent3"/>
                </a:solidFill>
                <a:latin typeface="+mj-lt"/>
              </a:rPr>
              <a:t>Paraguay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Peru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Uruguay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dirty="0">
                <a:latin typeface="+mj-lt"/>
              </a:rPr>
              <a:t>Venezuel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endParaRPr lang="en-US" dirty="0">
              <a:solidFill>
                <a:srgbClr val="00B0F0"/>
              </a:solidFill>
              <a:latin typeface="+mj-lt"/>
            </a:endParaRP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b="1" dirty="0">
                <a:latin typeface="+mj-lt"/>
              </a:rPr>
              <a:t>North Americ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+mj-lt"/>
              </a:rPr>
              <a:t>Canad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+mj-lt"/>
              </a:rPr>
              <a:t>USA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endParaRPr lang="en-US" dirty="0">
              <a:solidFill>
                <a:srgbClr val="00B0F0"/>
              </a:solidFill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65A4E8-393C-374B-8F87-57622B46D1B6}"/>
              </a:ext>
            </a:extLst>
          </p:cNvPr>
          <p:cNvSpPr txBox="1"/>
          <p:nvPr/>
        </p:nvSpPr>
        <p:spPr>
          <a:xfrm>
            <a:off x="7010904" y="6237249"/>
            <a:ext cx="1531434" cy="16355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marL="171450" indent="-171450" algn="r">
              <a:spcBef>
                <a:spcPct val="0"/>
              </a:spcBef>
              <a:buSzPct val="100000"/>
              <a:buFont typeface="AppleSDGothicNeo-Regular" panose="02000300000000000000" pitchFamily="2" charset="-127"/>
              <a:buChar char="◼"/>
            </a:pPr>
            <a:r>
              <a:rPr lang="en-US" sz="900" dirty="0">
                <a:solidFill>
                  <a:schemeClr val="accent3"/>
                </a:solidFill>
                <a:latin typeface="+mj-lt"/>
              </a:rPr>
              <a:t>Added in 2017</a:t>
            </a:r>
            <a:endParaRPr kumimoji="0" lang="en-US" sz="900" b="0" i="0" u="none" strike="noStrike" kern="1200" cap="none" spc="0" normalizeH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33788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515" y="1115580"/>
            <a:ext cx="7852133" cy="5345195"/>
          </a:xfrm>
        </p:spPr>
      </p:pic>
      <p:sp>
        <p:nvSpPr>
          <p:cNvPr id="6" name="Subtitle 5"/>
          <p:cNvSpPr>
            <a:spLocks noGrp="1"/>
          </p:cNvSpPr>
          <p:nvPr>
            <p:ph type="subTitle" idx="44"/>
          </p:nvPr>
        </p:nvSpPr>
        <p:spPr>
          <a:xfrm>
            <a:off x="1875075" y="598920"/>
            <a:ext cx="5980176" cy="258276"/>
          </a:xfrm>
        </p:spPr>
        <p:txBody>
          <a:bodyPr/>
          <a:lstStyle/>
          <a:p>
            <a:r>
              <a:rPr lang="en-US" sz="2800" b="0" dirty="0">
                <a:solidFill>
                  <a:schemeClr val="tx1"/>
                </a:solidFill>
                <a:ea typeface="+mj-ea"/>
                <a:cs typeface="+mj-cs"/>
              </a:rPr>
              <a:t>Syndicated Research Methodology</a:t>
            </a:r>
            <a:endParaRPr lang="en-GB" sz="2800" b="0" dirty="0">
              <a:solidFill>
                <a:schemeClr val="tx1"/>
              </a:solidFill>
              <a:ea typeface="+mj-ea"/>
              <a:cs typeface="+mj-cs"/>
            </a:endParaRPr>
          </a:p>
        </p:txBody>
      </p:sp>
      <p:pic>
        <p:nvPicPr>
          <p:cNvPr id="4" name="Picture Placeholder 17">
            <a:extLst>
              <a:ext uri="{FF2B5EF4-FFF2-40B4-BE49-F238E27FC236}">
                <a16:creationId xmlns:a16="http://schemas.microsoft.com/office/drawing/2014/main" id="{91A730D2-1BEE-46AA-8767-76CE25D2779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866" r="-35866"/>
          <a:stretch/>
        </p:blipFill>
        <p:spPr>
          <a:xfrm>
            <a:off x="1008114" y="4529614"/>
            <a:ext cx="438150" cy="194980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928828E-9958-465B-B755-843C431F79E6}"/>
              </a:ext>
            </a:extLst>
          </p:cNvPr>
          <p:cNvSpPr txBox="1">
            <a:spLocks/>
          </p:cNvSpPr>
          <p:nvPr/>
        </p:nvSpPr>
        <p:spPr>
          <a:xfrm>
            <a:off x="0" y="785241"/>
            <a:ext cx="6702552" cy="14401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Wingdings" charset="2"/>
              <a:buNone/>
              <a:tabLst/>
              <a:defRPr sz="1600" kern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None/>
              <a:tabLst/>
              <a:defRPr sz="1600" ker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228600" marR="0" indent="-22860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7200" marR="0" indent="-22860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marR="0" indent="-22860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charset="2"/>
              <a:buChar char="§"/>
              <a:tabLst/>
              <a:defRPr sz="16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22860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 dirty="0">
                <a:solidFill>
                  <a:prstClr val="white"/>
                </a:solidFill>
                <a:latin typeface="Calibri"/>
              </a:rPr>
              <a:t>RESEARCH APPROACH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EA4B37A-53FA-8FE9-FBAF-E49A7EFBA0A6}"/>
              </a:ext>
            </a:extLst>
          </p:cNvPr>
          <p:cNvSpPr/>
          <p:nvPr/>
        </p:nvSpPr>
        <p:spPr>
          <a:xfrm>
            <a:off x="860352" y="3883631"/>
            <a:ext cx="1556983" cy="36368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3137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E933AA-89C0-D7BD-50CC-651EF7A4A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061" y="15976"/>
            <a:ext cx="6716877" cy="307777"/>
          </a:xfrm>
        </p:spPr>
        <p:txBody>
          <a:bodyPr/>
          <a:lstStyle/>
          <a:p>
            <a:pPr algn="ctr"/>
            <a:r>
              <a:rPr lang="en-GB" sz="2000" dirty="0"/>
              <a:t>SAMPLE STATISTIC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C16960-400F-D264-6DB3-9336DA8F3C8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69" t="37195" r="3489" b="13319"/>
          <a:stretch/>
        </p:blipFill>
        <p:spPr>
          <a:xfrm>
            <a:off x="280657" y="387012"/>
            <a:ext cx="8582685" cy="240385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8784E0A-D69E-853D-F05F-9F67359240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815" t="44327" r="2790" b="13119"/>
          <a:stretch/>
        </p:blipFill>
        <p:spPr>
          <a:xfrm>
            <a:off x="369871" y="2854127"/>
            <a:ext cx="8493472" cy="20671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7CF80C9-7B20-D672-0D86-C4C554327F0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779" t="45188" r="3779" b="25624"/>
          <a:stretch/>
        </p:blipFill>
        <p:spPr>
          <a:xfrm>
            <a:off x="369871" y="4984583"/>
            <a:ext cx="8493472" cy="141783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2924789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49F2A6-3B86-4727-A01F-11A6A9CFA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4007" y="0"/>
            <a:ext cx="6716877" cy="323165"/>
          </a:xfrm>
        </p:spPr>
        <p:txBody>
          <a:bodyPr/>
          <a:lstStyle/>
          <a:p>
            <a:r>
              <a:rPr lang="en-GB" dirty="0"/>
              <a:t>SAMPLE REPOR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DCEED6-F66B-A88E-8DA8-5F4D5D0F7EE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232" t="28690" r="20561" b="3207"/>
          <a:stretch/>
        </p:blipFill>
        <p:spPr>
          <a:xfrm>
            <a:off x="102739" y="423574"/>
            <a:ext cx="6593585" cy="398406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69744E-A1A4-C798-47DB-596A348DAEE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296" t="25431" r="15955" b="7227"/>
          <a:stretch/>
        </p:blipFill>
        <p:spPr>
          <a:xfrm>
            <a:off x="3492468" y="423574"/>
            <a:ext cx="5548793" cy="343951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5071BE5-86BB-556C-12AE-45E01987A57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865" t="28481" r="28989" b="5531"/>
          <a:stretch/>
        </p:blipFill>
        <p:spPr>
          <a:xfrm>
            <a:off x="1859622" y="3863084"/>
            <a:ext cx="5774076" cy="290244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096590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1F5918-5294-4DCE-A0EA-5E8624D7A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056" y="498297"/>
            <a:ext cx="8061326" cy="609600"/>
          </a:xfrm>
        </p:spPr>
        <p:txBody>
          <a:bodyPr/>
          <a:lstStyle/>
          <a:p>
            <a:pPr marL="1905">
              <a:lnSpc>
                <a:spcPts val="2460"/>
              </a:lnSpc>
              <a:spcBef>
                <a:spcPts val="100"/>
              </a:spcBef>
            </a:pPr>
            <a:r>
              <a:rPr lang="en-US" sz="2800" dirty="0">
                <a:solidFill>
                  <a:srgbClr val="414141"/>
                </a:solidFill>
                <a:latin typeface="Carlito"/>
              </a:rPr>
              <a:t>Request for Data and Publication Rights Flow Diagram</a:t>
            </a:r>
            <a:endParaRPr lang="en-GB" sz="2800" dirty="0">
              <a:solidFill>
                <a:srgbClr val="414141"/>
              </a:solidFill>
              <a:latin typeface="Carlito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9FB8DCAF-2F0B-BFDD-15BB-D3547A13B6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6403972"/>
              </p:ext>
            </p:extLst>
          </p:nvPr>
        </p:nvGraphicFramePr>
        <p:xfrm>
          <a:off x="541337" y="2057400"/>
          <a:ext cx="8061326" cy="2743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181504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6858000"/>
          </a:xfrm>
        </p:spPr>
        <p:txBody>
          <a:bodyPr anchor="b"/>
          <a:lstStyle/>
          <a:p>
            <a:r>
              <a:rPr lang="en-US" dirty="0"/>
              <a:t>Thank You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uth. magaro@euromonitor.com</a:t>
            </a:r>
          </a:p>
        </p:txBody>
      </p:sp>
      <p:sp>
        <p:nvSpPr>
          <p:cNvPr id="2" name="SmartArt Placeholder 1"/>
          <p:cNvSpPr>
            <a:spLocks noGrp="1"/>
          </p:cNvSpPr>
          <p:nvPr>
            <p:ph type="dgm" sz="quarter" idx="14"/>
          </p:nvPr>
        </p:nvSpPr>
        <p:spPr/>
      </p:sp>
      <p:sp>
        <p:nvSpPr>
          <p:cNvPr id="11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751470" y="5176816"/>
            <a:ext cx="3668129" cy="296648"/>
          </a:xfrm>
        </p:spPr>
        <p:txBody>
          <a:bodyPr/>
          <a:lstStyle/>
          <a:p>
            <a:r>
              <a:rPr lang="en-US" dirty="0"/>
              <a:t>Office: +44 207 251 8024 # 1353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7"/>
          </p:nvPr>
        </p:nvSpPr>
        <p:spPr>
          <a:xfrm>
            <a:off x="751469" y="4968741"/>
            <a:ext cx="3668129" cy="222486"/>
          </a:xfrm>
        </p:spPr>
        <p:txBody>
          <a:bodyPr/>
          <a:lstStyle/>
          <a:p>
            <a:r>
              <a:rPr lang="en-US" dirty="0"/>
              <a:t>https://www.linkedin.com/in/ruth-magaro-b0713b7/</a:t>
            </a:r>
          </a:p>
        </p:txBody>
      </p:sp>
      <p:pic>
        <p:nvPicPr>
          <p:cNvPr id="29" name="Picture Placeholder 28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" b="379"/>
          <a:stretch>
            <a:fillRect/>
          </a:stretch>
        </p:blipFill>
        <p:spPr/>
      </p:pic>
      <p:pic>
        <p:nvPicPr>
          <p:cNvPr id="32" name="Picture Placeholder 46">
            <a:extLst>
              <a:ext uri="{FF2B5EF4-FFF2-40B4-BE49-F238E27FC236}">
                <a16:creationId xmlns:a16="http://schemas.microsoft.com/office/drawing/2014/main" id="{1E3D63C3-48E8-F445-9ADC-1ACBD537F5B5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35" name="Picture Placeholder 54">
            <a:extLst>
              <a:ext uri="{FF2B5EF4-FFF2-40B4-BE49-F238E27FC236}">
                <a16:creationId xmlns:a16="http://schemas.microsoft.com/office/drawing/2014/main" id="{899BEE28-3F69-9B4D-B0B4-EE81C4EBA911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3" b="893"/>
          <a:stretch>
            <a:fillRect/>
          </a:stretch>
        </p:blipFill>
        <p:spPr>
          <a:xfrm>
            <a:off x="457201" y="4917217"/>
            <a:ext cx="219456" cy="231425"/>
          </a:xfrm>
        </p:spPr>
      </p:pic>
      <p:pic>
        <p:nvPicPr>
          <p:cNvPr id="21" name="Picture Placeholder 20" descr="Telephone">
            <a:extLst>
              <a:ext uri="{FF2B5EF4-FFF2-40B4-BE49-F238E27FC236}">
                <a16:creationId xmlns:a16="http://schemas.microsoft.com/office/drawing/2014/main" id="{8AE9BD3F-9F97-44AC-9C58-8329DB603659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457201" y="5140622"/>
            <a:ext cx="219456" cy="292608"/>
          </a:xfrm>
        </p:spPr>
      </p:pic>
      <p:pic>
        <p:nvPicPr>
          <p:cNvPr id="1028" name="Picture 4" descr="Euromonitor International | Strategic Market Research, Data &amp; Analysis -  Euromonitor.com">
            <a:extLst>
              <a:ext uri="{FF2B5EF4-FFF2-40B4-BE49-F238E27FC236}">
                <a16:creationId xmlns:a16="http://schemas.microsoft.com/office/drawing/2014/main" id="{4518E72E-7787-894D-64D9-2D7EF199D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1919" y="1634705"/>
            <a:ext cx="9144000" cy="1922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026501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heme/theme1.xml><?xml version="1.0" encoding="utf-8"?>
<a:theme xmlns:a="http://schemas.openxmlformats.org/drawingml/2006/main" name="EMI Presentation v4.3">
  <a:themeElements>
    <a:clrScheme name="EMI house 5">
      <a:dk1>
        <a:srgbClr val="414141"/>
      </a:dk1>
      <a:lt1>
        <a:srgbClr val="FFFFFF"/>
      </a:lt1>
      <a:dk2>
        <a:srgbClr val="000000"/>
      </a:dk2>
      <a:lt2>
        <a:srgbClr val="7F7F7F"/>
      </a:lt2>
      <a:accent1>
        <a:srgbClr val="35637C"/>
      </a:accent1>
      <a:accent2>
        <a:srgbClr val="00A6CE"/>
      </a:accent2>
      <a:accent3>
        <a:srgbClr val="FF9C15"/>
      </a:accent3>
      <a:accent4>
        <a:srgbClr val="A73D71"/>
      </a:accent4>
      <a:accent5>
        <a:srgbClr val="FF6911"/>
      </a:accent5>
      <a:accent6>
        <a:srgbClr val="3FAE29"/>
      </a:accent6>
      <a:hlink>
        <a:srgbClr val="35627B"/>
      </a:hlink>
      <a:folHlink>
        <a:srgbClr val="5D87A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 anchor="t" anchorCtr="0"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kern="1200" cap="none" spc="0" normalizeH="0" noProof="0" dirty="0" smtClean="0">
            <a:ln>
              <a:noFill/>
            </a:ln>
            <a:effectLst/>
            <a:uLnTx/>
            <a:uFillTx/>
            <a:latin typeface="Arial" pitchFamily="34" charset="0"/>
            <a:ea typeface="+mj-ea"/>
            <a:cs typeface="+mj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MI-Presentation-4x3_v4.3.potx" id="{B2A2C833-76DC-E946-8D49-BC1F4761C157}" vid="{B6EC0218-8C1A-1B48-AFFE-7E4AC8F78E61}"/>
    </a:ext>
  </a:extLst>
</a:theme>
</file>

<file path=ppt/theme/theme2.xml><?xml version="1.0" encoding="utf-8"?>
<a:theme xmlns:a="http://schemas.openxmlformats.org/drawingml/2006/main" name="EMI Impact Slides v4.3">
  <a:themeElements>
    <a:clrScheme name="EMI house 5">
      <a:dk1>
        <a:srgbClr val="414141"/>
      </a:dk1>
      <a:lt1>
        <a:srgbClr val="FFFFFF"/>
      </a:lt1>
      <a:dk2>
        <a:srgbClr val="000000"/>
      </a:dk2>
      <a:lt2>
        <a:srgbClr val="7F7F7F"/>
      </a:lt2>
      <a:accent1>
        <a:srgbClr val="35637C"/>
      </a:accent1>
      <a:accent2>
        <a:srgbClr val="00A6CE"/>
      </a:accent2>
      <a:accent3>
        <a:srgbClr val="FF9C15"/>
      </a:accent3>
      <a:accent4>
        <a:srgbClr val="A73D71"/>
      </a:accent4>
      <a:accent5>
        <a:srgbClr val="FF6911"/>
      </a:accent5>
      <a:accent6>
        <a:srgbClr val="3FAE29"/>
      </a:accent6>
      <a:hlink>
        <a:srgbClr val="35627B"/>
      </a:hlink>
      <a:folHlink>
        <a:srgbClr val="5D87A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 anchor="t" anchorCtr="0"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kern="1200" cap="none" spc="0" normalizeH="0" noProof="0" dirty="0" smtClean="0">
            <a:ln>
              <a:noFill/>
            </a:ln>
            <a:effectLst/>
            <a:uLnTx/>
            <a:uFillTx/>
            <a:latin typeface="Arial" pitchFamily="34" charset="0"/>
            <a:ea typeface="+mj-ea"/>
            <a:cs typeface="+mj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MI-Presentation-4x3_v4.3.potx" id="{B2A2C833-76DC-E946-8D49-BC1F4761C157}" vid="{86FF5E3F-DF66-A34A-92C3-C34AFCAB8B4D}"/>
    </a:ext>
  </a:extLst>
</a:theme>
</file>

<file path=ppt/theme/theme3.xml><?xml version="1.0" encoding="utf-8"?>
<a:theme xmlns:a="http://schemas.openxmlformats.org/drawingml/2006/main" name="EMI Presentation 4.4">
  <a:themeElements>
    <a:clrScheme name="EMI house 5">
      <a:dk1>
        <a:srgbClr val="414141"/>
      </a:dk1>
      <a:lt1>
        <a:srgbClr val="FFFFFF"/>
      </a:lt1>
      <a:dk2>
        <a:srgbClr val="000000"/>
      </a:dk2>
      <a:lt2>
        <a:srgbClr val="7F7F7F"/>
      </a:lt2>
      <a:accent1>
        <a:srgbClr val="35637C"/>
      </a:accent1>
      <a:accent2>
        <a:srgbClr val="00A6CE"/>
      </a:accent2>
      <a:accent3>
        <a:srgbClr val="FF9C15"/>
      </a:accent3>
      <a:accent4>
        <a:srgbClr val="A73D71"/>
      </a:accent4>
      <a:accent5>
        <a:srgbClr val="FF6911"/>
      </a:accent5>
      <a:accent6>
        <a:srgbClr val="3FAE29"/>
      </a:accent6>
      <a:hlink>
        <a:srgbClr val="35627B"/>
      </a:hlink>
      <a:folHlink>
        <a:srgbClr val="5D87A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 anchor="t" anchorCtr="0">
        <a:no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kern="1200" cap="none" spc="0" normalizeH="0" noProof="0" dirty="0" smtClean="0">
            <a:ln>
              <a:noFill/>
            </a:ln>
            <a:effectLst/>
            <a:uLnTx/>
            <a:uFillTx/>
            <a:latin typeface="Arial" pitchFamily="34" charset="0"/>
            <a:ea typeface="+mj-ea"/>
            <a:cs typeface="+mj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MI-Presentation-4x3_v4.4.potx" id="{0FC9CEBF-7267-8E48-8C1F-4BDCE41C51C0}" vid="{C35DA5DB-CEF5-B049-8C5C-5A689DF67ED3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E5E0A1AD6A984D81D6ECD01A71C692" ma:contentTypeVersion="17" ma:contentTypeDescription="Create a new document." ma:contentTypeScope="" ma:versionID="28e5321501abbff7b63ec81745a5083a">
  <xsd:schema xmlns:xsd="http://www.w3.org/2001/XMLSchema" xmlns:xs="http://www.w3.org/2001/XMLSchema" xmlns:p="http://schemas.microsoft.com/office/2006/metadata/properties" xmlns:ns2="ccad3b9b-0803-42c5-9201-4ae4200e52b1" xmlns:ns3="ab352f88-bad4-4e90-9ab5-c4e67a397651" targetNamespace="http://schemas.microsoft.com/office/2006/metadata/properties" ma:root="true" ma:fieldsID="0bb212428285e6b162ede051058a7958" ns2:_="" ns3:_="">
    <xsd:import namespace="ccad3b9b-0803-42c5-9201-4ae4200e52b1"/>
    <xsd:import namespace="ab352f88-bad4-4e90-9ab5-c4e67a39765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Note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ad3b9b-0803-42c5-9201-4ae4200e52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description="" ma:indexed="true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description="" ma:indexed="true" ma:internalName="MediaServiceLocation" ma:readOnly="true">
      <xsd:simpleType>
        <xsd:restriction base="dms:Text"/>
      </xsd:simpleType>
    </xsd:element>
    <xsd:element name="Notes" ma:index="20" nillable="true" ma:displayName="Notes" ma:description="Add notes about the document" ma:format="Dropdown" ma:internalName="Notes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6d8c133d-3cdd-4989-a812-407ecd15435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352f88-bad4-4e90-9ab5-c4e67a397651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86e1002b-d523-447d-baa8-0bd9dc8b4eb3}" ma:internalName="TaxCatchAll" ma:showField="CatchAllData" ma:web="ab352f88-bad4-4e90-9ab5-c4e67a39765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b352f88-bad4-4e90-9ab5-c4e67a397651">
      <UserInfo>
        <DisplayName>Christopher Harris</DisplayName>
        <AccountId>615</AccountId>
        <AccountType/>
      </UserInfo>
    </SharedWithUsers>
    <lcf76f155ced4ddcb4097134ff3c332f xmlns="ccad3b9b-0803-42c5-9201-4ae4200e52b1">
      <Terms xmlns="http://schemas.microsoft.com/office/infopath/2007/PartnerControls"/>
    </lcf76f155ced4ddcb4097134ff3c332f>
    <Notes xmlns="ccad3b9b-0803-42c5-9201-4ae4200e52b1" xsi:nil="true"/>
    <TaxCatchAll xmlns="ab352f88-bad4-4e90-9ab5-c4e67a397651" xsi:nil="true"/>
  </documentManagement>
</p:properties>
</file>

<file path=customXml/itemProps1.xml><?xml version="1.0" encoding="utf-8"?>
<ds:datastoreItem xmlns:ds="http://schemas.openxmlformats.org/officeDocument/2006/customXml" ds:itemID="{B78A7A2A-ADB4-40DF-B294-579A44B0A42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AA9702-4042-45B8-BF86-3613EB3F62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ad3b9b-0803-42c5-9201-4ae4200e52b1"/>
    <ds:schemaRef ds:uri="ab352f88-bad4-4e90-9ab5-c4e67a39765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9D512EE-CBB7-4661-AC4C-3FC94AC7841E}">
  <ds:schemaRefs>
    <ds:schemaRef ds:uri="http://schemas.microsoft.com/office/2006/documentManagement/types"/>
    <ds:schemaRef ds:uri="http://purl.org/dc/terms/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41dc7c8e-2f2b-4b80-8ca3-09209417bd51"/>
    <ds:schemaRef ds:uri="0ff5c864-53bd-4f65-a023-3db3622267d2"/>
    <ds:schemaRef ds:uri="http://www.w3.org/XML/1998/namespace"/>
    <ds:schemaRef ds:uri="http://purl.org/dc/dcmitype/"/>
    <ds:schemaRef ds:uri="ab352f88-bad4-4e90-9ab5-c4e67a397651"/>
    <ds:schemaRef ds:uri="ccad3b9b-0803-42c5-9201-4ae4200e52b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MI-Pres-Deck_4x3_Master-R8</Template>
  <TotalTime>4204</TotalTime>
  <Words>465</Words>
  <Application>Microsoft Office PowerPoint</Application>
  <PresentationFormat>On-screen Show (4:3)</PresentationFormat>
  <Paragraphs>210</Paragraphs>
  <Slides>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ppleSDGothicNeo-Regular</vt:lpstr>
      <vt:lpstr>Arial</vt:lpstr>
      <vt:lpstr>Calibri</vt:lpstr>
      <vt:lpstr>Carlito</vt:lpstr>
      <vt:lpstr>Wingdings</vt:lpstr>
      <vt:lpstr>EMI Presentation v4.3</vt:lpstr>
      <vt:lpstr>EMI Impact Slides v4.3</vt:lpstr>
      <vt:lpstr>EMI Presentation 4.4</vt:lpstr>
      <vt:lpstr>Office Theme</vt:lpstr>
      <vt:lpstr>Euromonitor International </vt:lpstr>
      <vt:lpstr>Research Expertise </vt:lpstr>
      <vt:lpstr>Up to 100 In-Country Research Programmes</vt:lpstr>
      <vt:lpstr>PowerPoint Presentation</vt:lpstr>
      <vt:lpstr>SAMPLE STATISTICS</vt:lpstr>
      <vt:lpstr>SAMPLE REPORTS</vt:lpstr>
      <vt:lpstr>Request for Data and Publication Rights Flow Diagram</vt:lpstr>
      <vt:lpstr>Thank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abilities Slides: Passport New Customer October 2021</dc:title>
  <dc:subject/>
  <dc:creator>Ava Zandieh</dc:creator>
  <cp:keywords/>
  <dc:description/>
  <cp:lastModifiedBy>Robert Sherwin</cp:lastModifiedBy>
  <cp:revision>378</cp:revision>
  <cp:lastPrinted>2018-10-18T06:50:44Z</cp:lastPrinted>
  <dcterms:created xsi:type="dcterms:W3CDTF">2017-07-14T14:51:05Z</dcterms:created>
  <dcterms:modified xsi:type="dcterms:W3CDTF">2023-06-21T09:07:3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E5E0A1AD6A984D81D6ECD01A71C692</vt:lpwstr>
  </property>
</Properties>
</file>